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9" r:id="rId4"/>
  </p:sldMasterIdLst>
  <p:notesMasterIdLst>
    <p:notesMasterId r:id="rId27"/>
  </p:notesMasterIdLst>
  <p:handoutMasterIdLst>
    <p:handoutMasterId r:id="rId28"/>
  </p:handoutMasterIdLst>
  <p:sldIdLst>
    <p:sldId id="1238" r:id="rId5"/>
    <p:sldId id="1264" r:id="rId6"/>
    <p:sldId id="1266" r:id="rId7"/>
    <p:sldId id="1213" r:id="rId8"/>
    <p:sldId id="1268" r:id="rId9"/>
    <p:sldId id="1269" r:id="rId10"/>
    <p:sldId id="1271" r:id="rId11"/>
    <p:sldId id="1270" r:id="rId12"/>
    <p:sldId id="1272" r:id="rId13"/>
    <p:sldId id="1273" r:id="rId14"/>
    <p:sldId id="1274" r:id="rId15"/>
    <p:sldId id="1263" r:id="rId16"/>
    <p:sldId id="1302" r:id="rId17"/>
    <p:sldId id="1303" r:id="rId18"/>
    <p:sldId id="1276" r:id="rId19"/>
    <p:sldId id="1297" r:id="rId20"/>
    <p:sldId id="1300" r:id="rId21"/>
    <p:sldId id="1301" r:id="rId22"/>
    <p:sldId id="1295" r:id="rId23"/>
    <p:sldId id="1262" r:id="rId24"/>
    <p:sldId id="1288" r:id="rId25"/>
    <p:sldId id="1291" r:id="rId26"/>
  </p:sldIdLst>
  <p:sldSz cx="12801600" cy="9601200" type="A3"/>
  <p:notesSz cx="9926638" cy="6797675"/>
  <p:custDataLst>
    <p:tags r:id="rId29"/>
  </p:custDataLst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buFont typeface="Arial" pitchFamily="34" charset="0"/>
      <a:defRPr sz="24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buFont typeface="Arial" pitchFamily="34" charset="0"/>
      <a:defRPr sz="24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buFont typeface="Arial" pitchFamily="34" charset="0"/>
      <a:defRPr sz="24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buFont typeface="Arial" pitchFamily="34" charset="0"/>
      <a:defRPr sz="24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buFont typeface="Arial" pitchFamily="34" charset="0"/>
      <a:defRPr sz="24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01" userDrawn="1">
          <p15:clr>
            <a:srgbClr val="A4A3A4"/>
          </p15:clr>
        </p15:guide>
        <p15:guide id="2" pos="400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3" userDrawn="1">
          <p15:clr>
            <a:srgbClr val="A4A3A4"/>
          </p15:clr>
        </p15:guide>
        <p15:guide id="2" pos="2159" userDrawn="1">
          <p15:clr>
            <a:srgbClr val="A4A3A4"/>
          </p15:clr>
        </p15:guide>
        <p15:guide id="3" orient="horz" pos="2141">
          <p15:clr>
            <a:srgbClr val="A4A3A4"/>
          </p15:clr>
        </p15:guide>
        <p15:guide id="4" pos="312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BBE0E3"/>
    <a:srgbClr val="FFFF00"/>
    <a:srgbClr val="2FA6FF"/>
    <a:srgbClr val="DB67D5"/>
    <a:srgbClr val="FFFF66"/>
    <a:srgbClr val="FFCC99"/>
    <a:srgbClr val="B7E6E7"/>
    <a:srgbClr val="FFFFFF"/>
    <a:srgbClr val="D5F9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2159" autoAdjust="0"/>
  </p:normalViewPr>
  <p:slideViewPr>
    <p:cSldViewPr snapToGrid="0">
      <p:cViewPr varScale="1">
        <p:scale>
          <a:sx n="46" d="100"/>
          <a:sy n="46" d="100"/>
        </p:scale>
        <p:origin x="1332" y="48"/>
      </p:cViewPr>
      <p:guideLst>
        <p:guide orient="horz" pos="3001"/>
        <p:guide pos="4008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43" d="100"/>
          <a:sy n="43" d="100"/>
        </p:scale>
        <p:origin x="-3468" y="-96"/>
      </p:cViewPr>
      <p:guideLst>
        <p:guide orient="horz" pos="3133"/>
        <p:guide pos="2159"/>
        <p:guide orient="horz" pos="2141"/>
        <p:guide pos="312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336" cy="339734"/>
          </a:xfrm>
          <a:prstGeom prst="rect">
            <a:avLst/>
          </a:prstGeom>
        </p:spPr>
        <p:txBody>
          <a:bodyPr vert="horz" lIns="62950" tIns="31476" rIns="62950" bIns="31476" rtlCol="0"/>
          <a:lstStyle>
            <a:lvl1pPr algn="l">
              <a:defRPr sz="8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5622719" y="0"/>
            <a:ext cx="4302334" cy="339734"/>
          </a:xfrm>
          <a:prstGeom prst="rect">
            <a:avLst/>
          </a:prstGeom>
        </p:spPr>
        <p:txBody>
          <a:bodyPr vert="horz" lIns="62950" tIns="31476" rIns="62950" bIns="31476" rtlCol="0"/>
          <a:lstStyle>
            <a:lvl1pPr algn="r">
              <a:defRPr sz="800"/>
            </a:lvl1pPr>
          </a:lstStyle>
          <a:p>
            <a:fld id="{D9BD6823-8232-4CA5-BC81-5F052C925C25}" type="datetimeFigureOut">
              <a:rPr lang="zh-CN" altLang="en-US" smtClean="0"/>
              <a:pPr/>
              <a:t>2020/7/2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6456438"/>
            <a:ext cx="4302336" cy="339734"/>
          </a:xfrm>
          <a:prstGeom prst="rect">
            <a:avLst/>
          </a:prstGeom>
        </p:spPr>
        <p:txBody>
          <a:bodyPr vert="horz" lIns="62950" tIns="31476" rIns="62950" bIns="31476" rtlCol="0" anchor="b"/>
          <a:lstStyle>
            <a:lvl1pPr algn="l">
              <a:defRPr sz="8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5622719" y="6456438"/>
            <a:ext cx="4302334" cy="339734"/>
          </a:xfrm>
          <a:prstGeom prst="rect">
            <a:avLst/>
          </a:prstGeom>
        </p:spPr>
        <p:txBody>
          <a:bodyPr vert="horz" lIns="62950" tIns="31476" rIns="62950" bIns="31476" rtlCol="0" anchor="b"/>
          <a:lstStyle>
            <a:lvl1pPr algn="r">
              <a:defRPr sz="800"/>
            </a:lvl1pPr>
          </a:lstStyle>
          <a:p>
            <a:fld id="{EDDA5A2C-4CE1-4432-A344-F404F8809E8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62282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 idx="4294967295"/>
          </p:nvPr>
        </p:nvSpPr>
        <p:spPr bwMode="auto">
          <a:xfrm>
            <a:off x="0" y="2"/>
            <a:ext cx="4300750" cy="338982"/>
          </a:xfrm>
          <a:prstGeom prst="rect">
            <a:avLst/>
          </a:prstGeom>
          <a:noFill/>
          <a:ln w="9525" cmpd="sng">
            <a:noFill/>
            <a:miter lim="800000"/>
            <a:headEnd/>
            <a:tailEnd/>
          </a:ln>
        </p:spPr>
        <p:txBody>
          <a:bodyPr vert="horz" wrap="square" lIns="95247" tIns="47619" rIns="95247" bIns="47619" numCol="1" anchor="t" anchorCtr="0" compatLnSpc="1">
            <a:prstTxWarp prst="textNoShape">
              <a:avLst/>
            </a:prstTxWarp>
          </a:bodyPr>
          <a:lstStyle>
            <a:lvl1pPr>
              <a:defRPr sz="1300" smtClean="0"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1127" y="2"/>
            <a:ext cx="4303925" cy="338982"/>
          </a:xfrm>
          <a:prstGeom prst="rect">
            <a:avLst/>
          </a:prstGeom>
          <a:noFill/>
          <a:ln w="9525" cmpd="sng">
            <a:noFill/>
            <a:miter lim="800000"/>
            <a:headEnd/>
            <a:tailEnd/>
          </a:ln>
        </p:spPr>
        <p:txBody>
          <a:bodyPr vert="horz" wrap="square" lIns="95247" tIns="47619" rIns="95247" bIns="47619" numCol="1" anchor="t" anchorCtr="0" compatLnSpc="1">
            <a:prstTxWarp prst="textNoShape">
              <a:avLst/>
            </a:prstTxWarp>
          </a:bodyPr>
          <a:lstStyle>
            <a:lvl1pPr algn="r">
              <a:defRPr sz="1300" smtClean="0"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276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267075" y="509588"/>
            <a:ext cx="3398838" cy="2547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sp>
      <p:sp>
        <p:nvSpPr>
          <p:cNvPr id="5125" name="Rectangle 5"/>
          <p:cNvSpPr>
            <a:spLocks noGrp="1" noRot="1" noChangeAspect="1" noChangeArrowheads="1" noTextEdit="1"/>
          </p:cNvSpPr>
          <p:nvPr/>
        </p:nvSpPr>
        <p:spPr bwMode="auto">
          <a:xfrm>
            <a:off x="990283" y="3228219"/>
            <a:ext cx="7944485" cy="3059856"/>
          </a:xfrm>
          <a:prstGeom prst="rect">
            <a:avLst/>
          </a:prstGeom>
          <a:noFill/>
          <a:ln w="9525" cmpd="sng">
            <a:noFill/>
            <a:miter lim="800000"/>
            <a:headEnd/>
            <a:tailEnd/>
          </a:ln>
        </p:spPr>
        <p:txBody>
          <a:bodyPr lIns="95247" tIns="47619" rIns="95247" bIns="47619"/>
          <a:lstStyle/>
          <a:p>
            <a:pPr defTabSz="0">
              <a:spcBef>
                <a:spcPct val="30000"/>
              </a:spcBef>
              <a:buFontTx/>
              <a:buNone/>
              <a:defRPr/>
            </a:pPr>
            <a:r>
              <a:rPr lang="zh-CN" altLang="en-US" sz="800" dirty="0"/>
              <a:t>            </a:t>
            </a:r>
          </a:p>
          <a:p>
            <a:pPr defTabSz="0">
              <a:spcBef>
                <a:spcPct val="30000"/>
              </a:spcBef>
              <a:buFontTx/>
              <a:buNone/>
              <a:defRPr/>
            </a:pPr>
            <a:r>
              <a:rPr lang="zh-CN" altLang="en-US" sz="800" dirty="0"/>
              <a:t>   </a:t>
            </a:r>
          </a:p>
          <a:p>
            <a:pPr defTabSz="0">
              <a:spcBef>
                <a:spcPct val="30000"/>
              </a:spcBef>
              <a:buFontTx/>
              <a:buNone/>
              <a:defRPr/>
            </a:pPr>
            <a:r>
              <a:rPr lang="zh-CN" altLang="en-US" sz="800" dirty="0"/>
              <a:t>   </a:t>
            </a:r>
          </a:p>
          <a:p>
            <a:pPr defTabSz="0">
              <a:spcBef>
                <a:spcPct val="30000"/>
              </a:spcBef>
              <a:buFontTx/>
              <a:buNone/>
              <a:defRPr/>
            </a:pPr>
            <a:r>
              <a:rPr lang="zh-CN" altLang="en-US" sz="800" dirty="0"/>
              <a:t>   </a:t>
            </a:r>
          </a:p>
          <a:p>
            <a:pPr defTabSz="0">
              <a:spcBef>
                <a:spcPct val="30000"/>
              </a:spcBef>
              <a:buFontTx/>
              <a:buNone/>
              <a:defRPr/>
            </a:pPr>
            <a:r>
              <a:rPr lang="zh-CN" altLang="en-US" sz="800" dirty="0"/>
              <a:t>   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56438"/>
            <a:ext cx="4300750" cy="339734"/>
          </a:xfrm>
          <a:prstGeom prst="rect">
            <a:avLst/>
          </a:prstGeom>
          <a:noFill/>
          <a:ln w="9525" cmpd="sng">
            <a:noFill/>
            <a:miter lim="800000"/>
            <a:headEnd/>
            <a:tailEnd/>
          </a:ln>
        </p:spPr>
        <p:txBody>
          <a:bodyPr vert="horz" wrap="square" lIns="95247" tIns="47619" rIns="95247" bIns="47619" numCol="1" anchor="b" anchorCtr="0" compatLnSpc="1">
            <a:prstTxWarp prst="textNoShape">
              <a:avLst/>
            </a:prstTxWarp>
          </a:bodyPr>
          <a:lstStyle>
            <a:lvl1pPr>
              <a:defRPr sz="1300" smtClean="0"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1127" y="6456438"/>
            <a:ext cx="4303925" cy="339734"/>
          </a:xfrm>
          <a:prstGeom prst="rect">
            <a:avLst/>
          </a:prstGeom>
          <a:noFill/>
          <a:ln w="9525" cmpd="sng">
            <a:noFill/>
            <a:miter lim="800000"/>
            <a:headEnd/>
            <a:tailEnd/>
          </a:ln>
        </p:spPr>
        <p:txBody>
          <a:bodyPr vert="horz" wrap="square" lIns="95247" tIns="47619" rIns="95247" bIns="47619" numCol="1" anchor="b" anchorCtr="0" compatLnSpc="1">
            <a:prstTxWarp prst="textNoShape">
              <a:avLst/>
            </a:prstTxWarp>
          </a:bodyPr>
          <a:lstStyle>
            <a:lvl1pPr algn="r">
              <a:defRPr smtClean="0">
                <a:ea typeface="楷体_GB2312" pitchFamily="49" charset="-122"/>
              </a:defRPr>
            </a:lvl1pPr>
          </a:lstStyle>
          <a:p>
            <a:pPr>
              <a:defRPr/>
            </a:pPr>
            <a:fld id="{DD263CD4-E543-4AF9-BAFA-C152B14DC88A}" type="slidenum">
              <a:rPr lang="en-US"/>
              <a:pPr>
                <a:defRPr/>
              </a:pPr>
              <a:t>‹#›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292072382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53151"/>
            <a:fld id="{40228B12-4E3F-4766-ABC1-62CE9835DF77}" type="slidenum">
              <a:rPr lang="en-US" altLang="zh-CN" smtClean="0">
                <a:ea typeface="宋体" charset="-122"/>
              </a:rPr>
              <a:pPr defTabSz="953151"/>
              <a:t>0</a:t>
            </a:fld>
            <a:endParaRPr lang="en-US" altLang="zh-CN" dirty="0">
              <a:ea typeface="宋体" charset="-122"/>
            </a:endParaRPr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91973" y="3228978"/>
            <a:ext cx="7942696" cy="3058574"/>
          </a:xfrm>
          <a:prstGeom prst="rect">
            <a:avLst/>
          </a:prstGeom>
          <a:noFill/>
          <a:ln/>
        </p:spPr>
        <p:txBody>
          <a:bodyPr lIns="91538" tIns="45769" rIns="91538" bIns="45769"/>
          <a:lstStyle/>
          <a:p>
            <a:pPr eaLnBrk="1" hangingPunct="1"/>
            <a:endParaRPr lang="zh-CN" altLang="zh-CN" dirty="0">
              <a:ea typeface="宋体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223679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992188" y="3271838"/>
            <a:ext cx="7942262" cy="26765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D263CD4-E543-4AF9-BAFA-C152B14DC88A}" type="slidenum">
              <a:rPr lang="en-US" smtClean="0"/>
              <a:pPr>
                <a:defRPr/>
              </a:pPr>
              <a:t>7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734815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992188" y="3271838"/>
            <a:ext cx="7942262" cy="26765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D263CD4-E543-4AF9-BAFA-C152B14DC88A}" type="slidenum">
              <a:rPr lang="en-US" smtClean="0"/>
              <a:pPr>
                <a:defRPr/>
              </a:pPr>
              <a:t>18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30869633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60438" y="2982913"/>
            <a:ext cx="10880725" cy="20574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920875" y="5440363"/>
            <a:ext cx="8959850" cy="24542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Page </a:t>
            </a:r>
            <a:fld id="{C7057381-C383-42FE-8AF3-C601EE76C146}" type="slidenum">
              <a:rPr lang="zh-CN" altLang="en-US"/>
              <a:pPr>
                <a:defRPr/>
              </a:pPr>
              <a:t>‹#›</a:t>
            </a:fld>
            <a:endParaRPr lang="en-US" sz="1800">
              <a:ea typeface="+mn-ea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Page </a:t>
            </a:r>
            <a:fld id="{57C537FF-B44E-4BA5-9BD6-EF7EA46D40A4}" type="slidenum">
              <a:rPr lang="zh-CN" altLang="en-US"/>
              <a:pPr>
                <a:defRPr/>
              </a:pPr>
              <a:t>‹#›</a:t>
            </a:fld>
            <a:endParaRPr lang="en-US" sz="1800">
              <a:ea typeface="+mn-ea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Page </a:t>
            </a:r>
            <a:fld id="{5F4403B9-F3D7-427D-B863-B0AAED2399CB}" type="slidenum">
              <a:rPr lang="zh-CN" altLang="en-US"/>
              <a:pPr>
                <a:defRPr/>
              </a:pPr>
              <a:t>‹#›</a:t>
            </a:fld>
            <a:endParaRPr lang="en-US" sz="1800">
              <a:ea typeface="+mn-ea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50838" y="536575"/>
            <a:ext cx="9477375" cy="5254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Page </a:t>
            </a:r>
            <a:fld id="{5B82F0CE-22B2-4819-8DDD-D75E1E9B816E}" type="slidenum">
              <a:rPr lang="zh-CN" altLang="en-US"/>
              <a:pPr>
                <a:defRPr/>
              </a:pPr>
              <a:t>‹#›</a:t>
            </a:fld>
            <a:endParaRPr lang="en-US" sz="1800">
              <a:ea typeface="+mn-ea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"/>
          <p:cNvSpPr>
            <a:spLocks noChangeShapeType="1"/>
          </p:cNvSpPr>
          <p:nvPr userDrawn="1"/>
        </p:nvSpPr>
        <p:spPr bwMode="auto">
          <a:xfrm>
            <a:off x="3247308" y="928836"/>
            <a:ext cx="9360000" cy="0"/>
          </a:xfrm>
          <a:prstGeom prst="line">
            <a:avLst/>
          </a:prstGeom>
          <a:noFill/>
          <a:ln w="57150">
            <a:solidFill>
              <a:srgbClr val="C0000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zh-CN" altLang="en-US"/>
          </a:p>
        </p:txBody>
      </p:sp>
      <p:pic>
        <p:nvPicPr>
          <p:cNvPr id="18433" name="Picture 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63712"/>
            <a:ext cx="3097763" cy="849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、项目符号与照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图像"/>
          <p:cNvSpPr>
            <a:spLocks noGrp="1"/>
          </p:cNvSpPr>
          <p:nvPr>
            <p:ph type="pic" sz="half" idx="13"/>
          </p:nvPr>
        </p:nvSpPr>
        <p:spPr>
          <a:xfrm>
            <a:off x="6713356" y="2612831"/>
            <a:ext cx="5500688" cy="6250782"/>
          </a:xfrm>
          <a:prstGeom prst="rect">
            <a:avLst/>
          </a:prstGeom>
          <a:ln w="9525">
            <a:round/>
          </a:ln>
        </p:spPr>
        <p:txBody>
          <a:bodyPr lIns="56449" tIns="28223" rIns="56449" bIns="28223" anchor="t">
            <a:noAutofit/>
          </a:bodyPr>
          <a:lstStyle/>
          <a:p>
            <a:endParaRPr/>
          </a:p>
        </p:txBody>
      </p:sp>
      <p:sp>
        <p:nvSpPr>
          <p:cNvPr id="80" name="标题文本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81" name="正文级别 1…"/>
          <p:cNvSpPr txBox="1">
            <a:spLocks noGrp="1"/>
          </p:cNvSpPr>
          <p:nvPr>
            <p:ph type="body" sz="half" idx="1"/>
          </p:nvPr>
        </p:nvSpPr>
        <p:spPr>
          <a:xfrm>
            <a:off x="500066" y="2687840"/>
            <a:ext cx="5725715" cy="6250782"/>
          </a:xfrm>
          <a:prstGeom prst="rect">
            <a:avLst/>
          </a:prstGeom>
        </p:spPr>
        <p:txBody>
          <a:bodyPr/>
          <a:lstStyle>
            <a:lvl1pPr marL="418805" indent="-418805">
              <a:spcBef>
                <a:spcPts val="1918"/>
              </a:spcBef>
              <a:buSzPct val="65000"/>
              <a:defRPr sz="3231"/>
            </a:lvl1pPr>
            <a:lvl2pPr marL="837612" indent="-418805">
              <a:spcBef>
                <a:spcPts val="1918"/>
              </a:spcBef>
              <a:buSzPct val="65000"/>
              <a:defRPr sz="3231"/>
            </a:lvl2pPr>
            <a:lvl3pPr marL="1256419" indent="-418805">
              <a:spcBef>
                <a:spcPts val="1918"/>
              </a:spcBef>
              <a:buSzPct val="65000"/>
              <a:defRPr sz="3231"/>
            </a:lvl3pPr>
            <a:lvl4pPr marL="1675221" indent="-418805">
              <a:spcBef>
                <a:spcPts val="1918"/>
              </a:spcBef>
              <a:buSzPct val="65000"/>
              <a:defRPr sz="3231"/>
            </a:lvl4pPr>
            <a:lvl5pPr marL="2094031" indent="-418805">
              <a:spcBef>
                <a:spcPts val="1918"/>
              </a:spcBef>
              <a:buSzPct val="65000"/>
              <a:defRPr sz="3231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82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16581633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87100" y="9074150"/>
            <a:ext cx="1325563" cy="527050"/>
          </a:xfrm>
          <a:prstGeom prst="rect">
            <a:avLst/>
          </a:prstGeom>
          <a:noFill/>
          <a:ln w="9525" cmpd="sng">
            <a:noFill/>
            <a:miter lim="800000"/>
            <a:headEnd/>
            <a:tailEnd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>
            <a:lvl1pPr algn="r">
              <a:defRPr sz="1400" smtClean="0">
                <a:ea typeface="Batang" pitchFamily="18" charset="-127"/>
              </a:defRPr>
            </a:lvl1pPr>
          </a:lstStyle>
          <a:p>
            <a:pPr>
              <a:defRPr/>
            </a:pPr>
            <a:r>
              <a:rPr lang="zh-CN" altLang="en-US"/>
              <a:t>Page </a:t>
            </a:r>
            <a:fld id="{EA18D9C0-A17F-48A7-ACFA-654C0E9DD2E9}" type="slidenum">
              <a:rPr lang="zh-CN" altLang="en-US"/>
              <a:pPr>
                <a:defRPr/>
              </a:pPr>
              <a:t>‹#›</a:t>
            </a:fld>
            <a:endParaRPr lang="en-US" sz="1800">
              <a:ea typeface="+mn-ea"/>
            </a:endParaRPr>
          </a:p>
        </p:txBody>
      </p:sp>
      <p:sp>
        <p:nvSpPr>
          <p:cNvPr id="2052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0838" y="1665288"/>
            <a:ext cx="11896725" cy="723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859" tIns="64431" rIns="128859" bIns="6443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>
                <a:sym typeface="楷体_GB2312" pitchFamily="49" charset="-122"/>
              </a:rPr>
              <a:t>一级标题（楷体</a:t>
            </a:r>
            <a:r>
              <a:rPr lang="zh-CN" altLang="zh-CN">
                <a:sym typeface="楷体_GB2312" pitchFamily="49" charset="-122"/>
              </a:rPr>
              <a:t>GB2312 18#</a:t>
            </a:r>
            <a:r>
              <a:rPr lang="zh-CN">
                <a:sym typeface="楷体_GB2312" pitchFamily="49" charset="-122"/>
              </a:rPr>
              <a:t>）</a:t>
            </a:r>
          </a:p>
          <a:p>
            <a:pPr lvl="1"/>
            <a:r>
              <a:rPr lang="zh-CN">
                <a:sym typeface="楷体_GB2312" pitchFamily="49" charset="-122"/>
              </a:rPr>
              <a:t>二级标题（楷体</a:t>
            </a:r>
            <a:r>
              <a:rPr lang="zh-CN" altLang="zh-CN">
                <a:sym typeface="楷体_GB2312" pitchFamily="49" charset="-122"/>
              </a:rPr>
              <a:t>GB2312 16#</a:t>
            </a:r>
            <a:r>
              <a:rPr lang="zh-CN">
                <a:sym typeface="楷体_GB2312" pitchFamily="49" charset="-122"/>
              </a:rPr>
              <a:t>）</a:t>
            </a:r>
          </a:p>
          <a:p>
            <a:pPr lvl="2"/>
            <a:r>
              <a:rPr lang="zh-CN">
                <a:sym typeface="楷体_GB2312" pitchFamily="49" charset="-122"/>
              </a:rPr>
              <a:t>三级标题（楷体</a:t>
            </a:r>
            <a:r>
              <a:rPr lang="zh-CN" altLang="zh-CN">
                <a:sym typeface="楷体_GB2312" pitchFamily="49" charset="-122"/>
              </a:rPr>
              <a:t>GB2312 14#</a:t>
            </a:r>
            <a:r>
              <a:rPr lang="zh-CN">
                <a:sym typeface="楷体_GB2312" pitchFamily="49" charset="-122"/>
              </a:rPr>
              <a:t>）</a:t>
            </a:r>
          </a:p>
          <a:p>
            <a:pPr lvl="3"/>
            <a:r>
              <a:rPr lang="zh-CN">
                <a:sym typeface="楷体_GB2312" pitchFamily="49" charset="-122"/>
              </a:rPr>
              <a:t>正文（楷体</a:t>
            </a:r>
            <a:r>
              <a:rPr lang="zh-CN" altLang="zh-CN">
                <a:sym typeface="楷体_GB2312" pitchFamily="49" charset="-122"/>
              </a:rPr>
              <a:t>GB2312 12#</a:t>
            </a:r>
            <a:r>
              <a:rPr lang="zh-CN">
                <a:sym typeface="楷体_GB2312" pitchFamily="49" charset="-122"/>
              </a:rPr>
              <a:t>）</a:t>
            </a:r>
          </a:p>
          <a:p>
            <a:pPr lvl="4"/>
            <a:r>
              <a:rPr lang="zh-CN">
                <a:sym typeface="楷体_GB2312" pitchFamily="49" charset="-122"/>
              </a:rPr>
              <a:t>备注（楷体</a:t>
            </a:r>
            <a:r>
              <a:rPr lang="zh-CN" altLang="zh-CN">
                <a:sym typeface="楷体_GB2312" pitchFamily="49" charset="-122"/>
              </a:rPr>
              <a:t>GB2312 10#</a:t>
            </a:r>
            <a:r>
              <a:rPr lang="zh-CN">
                <a:sym typeface="楷体_GB2312" pitchFamily="49" charset="-122"/>
              </a:rPr>
              <a:t>）</a:t>
            </a:r>
          </a:p>
        </p:txBody>
      </p:sp>
      <p:sp>
        <p:nvSpPr>
          <p:cNvPr id="2053" name="Rectangle 1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50838" y="536575"/>
            <a:ext cx="9477375" cy="525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63997" rIns="127992" bIns="63997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zh-CN">
                <a:sym typeface="Arial" pitchFamily="34" charset="0"/>
              </a:rPr>
              <a:t>标题</a:t>
            </a:r>
          </a:p>
        </p:txBody>
      </p:sp>
      <p:sp>
        <p:nvSpPr>
          <p:cNvPr id="2054" name="Line 28"/>
          <p:cNvSpPr>
            <a:spLocks noChangeShapeType="1"/>
          </p:cNvSpPr>
          <p:nvPr/>
        </p:nvSpPr>
        <p:spPr bwMode="auto">
          <a:xfrm>
            <a:off x="0" y="1052513"/>
            <a:ext cx="10079038" cy="1587"/>
          </a:xfrm>
          <a:prstGeom prst="line">
            <a:avLst/>
          </a:prstGeom>
          <a:noFill/>
          <a:ln w="57150" cmpd="sng">
            <a:solidFill>
              <a:srgbClr val="C00000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zh-CN" altLang="zh-CN" sz="1800">
              <a:solidFill>
                <a:srgbClr val="000000"/>
              </a:solidFill>
              <a:ea typeface="楷体_GB2312" pitchFamily="49" charset="-122"/>
              <a:sym typeface="楷体_GB2312" pitchFamily="49" charset="-122"/>
            </a:endParaRPr>
          </a:p>
        </p:txBody>
      </p:sp>
      <p:pic>
        <p:nvPicPr>
          <p:cNvPr id="23553" name="Picture 1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189029" y="594342"/>
            <a:ext cx="2575249" cy="706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82" r:id="rId3"/>
    <p:sldLayoutId id="2147483887" r:id="rId4"/>
    <p:sldLayoutId id="2147483888" r:id="rId5"/>
    <p:sldLayoutId id="2147483889" r:id="rId6"/>
  </p:sldLayoutIdLst>
  <p:txStyles>
    <p:titleStyle>
      <a:lvl1pPr marL="1279525" indent="-1279525"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+mj-lt"/>
          <a:ea typeface="+mj-ea"/>
          <a:cs typeface="+mj-cs"/>
          <a:sym typeface="Arial" pitchFamily="34" charset="0"/>
        </a:defRPr>
      </a:lvl1pPr>
      <a:lvl2pPr marL="1279525" indent="-1279525"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  <a:ea typeface="楷体_GB2312" pitchFamily="49" charset="-122"/>
          <a:sym typeface="Arial" pitchFamily="34" charset="0"/>
        </a:defRPr>
      </a:lvl2pPr>
      <a:lvl3pPr marL="1279525" indent="-1279525"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  <a:ea typeface="楷体_GB2312" pitchFamily="49" charset="-122"/>
          <a:sym typeface="Arial" pitchFamily="34" charset="0"/>
        </a:defRPr>
      </a:lvl3pPr>
      <a:lvl4pPr marL="1279525" indent="-1279525"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  <a:ea typeface="楷体_GB2312" pitchFamily="49" charset="-122"/>
          <a:sym typeface="Arial" pitchFamily="34" charset="0"/>
        </a:defRPr>
      </a:lvl4pPr>
      <a:lvl5pPr marL="1279525" indent="-1279525"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  <a:ea typeface="楷体_GB2312" pitchFamily="49" charset="-122"/>
          <a:sym typeface="Arial" pitchFamily="34" charset="0"/>
        </a:defRPr>
      </a:lvl5pPr>
      <a:lvl6pPr marL="1736725" indent="-1279525"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  <a:ea typeface="楷体_GB2312" pitchFamily="49" charset="-122"/>
          <a:sym typeface="Arial" pitchFamily="34" charset="0"/>
        </a:defRPr>
      </a:lvl6pPr>
      <a:lvl7pPr marL="2193925" indent="-1279525"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  <a:ea typeface="楷体_GB2312" pitchFamily="49" charset="-122"/>
          <a:sym typeface="Arial" pitchFamily="34" charset="0"/>
        </a:defRPr>
      </a:lvl7pPr>
      <a:lvl8pPr marL="2651125" indent="-1279525"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  <a:ea typeface="楷体_GB2312" pitchFamily="49" charset="-122"/>
          <a:sym typeface="Arial" pitchFamily="34" charset="0"/>
        </a:defRPr>
      </a:lvl8pPr>
      <a:lvl9pPr marL="3108325" indent="-1279525"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  <a:ea typeface="楷体_GB2312" pitchFamily="49" charset="-122"/>
          <a:sym typeface="Arial" pitchFamily="34" charset="0"/>
        </a:defRPr>
      </a:lvl9pPr>
    </p:titleStyle>
    <p:bodyStyle>
      <a:lvl1pPr marL="479425" indent="-479425" algn="l" defTabSz="1279525" rtl="0" eaLnBrk="0" fontAlgn="base" hangingPunct="0">
        <a:spcBef>
          <a:spcPct val="20000"/>
        </a:spcBef>
        <a:spcAft>
          <a:spcPct val="0"/>
        </a:spcAft>
        <a:buChar char="•"/>
        <a:defRPr sz="2500" b="1">
          <a:solidFill>
            <a:schemeClr val="tx1"/>
          </a:solidFill>
          <a:latin typeface="+mn-lt"/>
          <a:ea typeface="+mn-ea"/>
          <a:cs typeface="+mn-cs"/>
          <a:sym typeface="楷体_GB2312" pitchFamily="49" charset="-122"/>
        </a:defRPr>
      </a:lvl1pPr>
      <a:lvl2pPr marL="1039813" indent="-398463" algn="l" defTabSz="1279525" rtl="0" eaLnBrk="0" fontAlgn="base" hangingPunct="0">
        <a:spcBef>
          <a:spcPct val="20000"/>
        </a:spcBef>
        <a:spcAft>
          <a:spcPct val="0"/>
        </a:spcAft>
        <a:buChar char="–"/>
        <a:defRPr sz="2200" b="1">
          <a:solidFill>
            <a:schemeClr val="tx1"/>
          </a:solidFill>
          <a:latin typeface="+mn-lt"/>
          <a:ea typeface="+mn-ea"/>
          <a:sym typeface="楷体_GB2312" pitchFamily="49" charset="-122"/>
        </a:defRPr>
      </a:lvl2pPr>
      <a:lvl3pPr marL="1600200" indent="-320675" algn="l" defTabSz="1279525" rtl="0" eaLnBrk="0" fontAlgn="base" hangingPunct="0">
        <a:spcBef>
          <a:spcPct val="20000"/>
        </a:spcBef>
        <a:spcAft>
          <a:spcPct val="0"/>
        </a:spcAft>
        <a:buChar char="•"/>
        <a:defRPr sz="2000" b="1">
          <a:solidFill>
            <a:schemeClr val="tx1"/>
          </a:solidFill>
          <a:latin typeface="+mn-lt"/>
          <a:ea typeface="+mn-ea"/>
          <a:sym typeface="楷体_GB2312" pitchFamily="49" charset="-122"/>
        </a:defRPr>
      </a:lvl3pPr>
      <a:lvl4pPr marL="2239963" indent="-319088" algn="l" defTabSz="1279525" rtl="0" eaLnBrk="0" fontAlgn="base" hangingPunct="0">
        <a:spcBef>
          <a:spcPct val="20000"/>
        </a:spcBef>
        <a:spcAft>
          <a:spcPct val="0"/>
        </a:spcAft>
        <a:buChar char="–"/>
        <a:defRPr sz="1700" b="1">
          <a:solidFill>
            <a:schemeClr val="tx1"/>
          </a:solidFill>
          <a:latin typeface="+mn-lt"/>
          <a:ea typeface="+mn-ea"/>
          <a:sym typeface="楷体_GB2312" pitchFamily="49" charset="-122"/>
        </a:defRPr>
      </a:lvl4pPr>
      <a:lvl5pPr marL="2879725" indent="-319088" algn="l" defTabSz="1279525" rtl="0" eaLnBrk="0" fontAlgn="base" hangingPunct="0">
        <a:spcBef>
          <a:spcPct val="20000"/>
        </a:spcBef>
        <a:spcAft>
          <a:spcPct val="0"/>
        </a:spcAft>
        <a:buChar char="»"/>
        <a:defRPr sz="1400" b="1">
          <a:solidFill>
            <a:schemeClr val="tx1"/>
          </a:solidFill>
          <a:latin typeface="+mn-lt"/>
          <a:ea typeface="+mn-ea"/>
          <a:sym typeface="楷体_GB2312" pitchFamily="49" charset="-122"/>
        </a:defRPr>
      </a:lvl5pPr>
      <a:lvl6pPr marL="3336925" indent="-319088" algn="l" defTabSz="1279525" rtl="0" eaLnBrk="0" fontAlgn="base" hangingPunct="0">
        <a:spcBef>
          <a:spcPct val="20000"/>
        </a:spcBef>
        <a:spcAft>
          <a:spcPct val="0"/>
        </a:spcAft>
        <a:buChar char="»"/>
        <a:defRPr sz="1400" b="1">
          <a:solidFill>
            <a:schemeClr val="tx1"/>
          </a:solidFill>
          <a:latin typeface="+mn-lt"/>
          <a:ea typeface="+mn-ea"/>
          <a:sym typeface="楷体_GB2312" pitchFamily="49" charset="-122"/>
        </a:defRPr>
      </a:lvl6pPr>
      <a:lvl7pPr marL="3794125" indent="-319088" algn="l" defTabSz="1279525" rtl="0" eaLnBrk="0" fontAlgn="base" hangingPunct="0">
        <a:spcBef>
          <a:spcPct val="20000"/>
        </a:spcBef>
        <a:spcAft>
          <a:spcPct val="0"/>
        </a:spcAft>
        <a:buChar char="»"/>
        <a:defRPr sz="1400" b="1">
          <a:solidFill>
            <a:schemeClr val="tx1"/>
          </a:solidFill>
          <a:latin typeface="+mn-lt"/>
          <a:ea typeface="+mn-ea"/>
          <a:sym typeface="楷体_GB2312" pitchFamily="49" charset="-122"/>
        </a:defRPr>
      </a:lvl7pPr>
      <a:lvl8pPr marL="4251325" indent="-319088" algn="l" defTabSz="1279525" rtl="0" eaLnBrk="0" fontAlgn="base" hangingPunct="0">
        <a:spcBef>
          <a:spcPct val="20000"/>
        </a:spcBef>
        <a:spcAft>
          <a:spcPct val="0"/>
        </a:spcAft>
        <a:buChar char="»"/>
        <a:defRPr sz="1400" b="1">
          <a:solidFill>
            <a:schemeClr val="tx1"/>
          </a:solidFill>
          <a:latin typeface="+mn-lt"/>
          <a:ea typeface="+mn-ea"/>
          <a:sym typeface="楷体_GB2312" pitchFamily="49" charset="-122"/>
        </a:defRPr>
      </a:lvl8pPr>
      <a:lvl9pPr marL="4708525" indent="-319088" algn="l" defTabSz="1279525" rtl="0" eaLnBrk="0" fontAlgn="base" hangingPunct="0">
        <a:spcBef>
          <a:spcPct val="20000"/>
        </a:spcBef>
        <a:spcAft>
          <a:spcPct val="0"/>
        </a:spcAft>
        <a:buChar char="»"/>
        <a:defRPr sz="1400" b="1">
          <a:solidFill>
            <a:schemeClr val="tx1"/>
          </a:solidFill>
          <a:latin typeface="+mn-lt"/>
          <a:ea typeface="+mn-ea"/>
          <a:sym typeface="楷体_GB2312" pitchFamily="49" charset="-122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emf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6"/>
          <p:cNvSpPr>
            <a:spLocks noChangeArrowheads="1"/>
          </p:cNvSpPr>
          <p:nvPr/>
        </p:nvSpPr>
        <p:spPr bwMode="auto">
          <a:xfrm>
            <a:off x="1446656" y="3565428"/>
            <a:ext cx="9934413" cy="1486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8016" tIns="64008" rIns="128016" bIns="64008" anchor="ctr"/>
          <a:lstStyle/>
          <a:p>
            <a:pPr algn="ctr">
              <a:lnSpc>
                <a:spcPct val="150000"/>
              </a:lnSpc>
            </a:pPr>
            <a:r>
              <a:rPr lang="zh-CN" altLang="en-US" sz="4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承德市高新区</a:t>
            </a:r>
            <a:r>
              <a:rPr lang="en-US" altLang="zh-CN" sz="4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192</a:t>
            </a:r>
            <a:r>
              <a:rPr lang="zh-CN" altLang="en-US" sz="4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亩收</a:t>
            </a:r>
            <a:r>
              <a:rPr lang="zh-CN" altLang="en-US" sz="4400" b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并购</a:t>
            </a:r>
            <a:r>
              <a:rPr lang="zh-CN" altLang="en-US" sz="4400" b="1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项目</a:t>
            </a:r>
            <a:r>
              <a:rPr lang="zh-CN" altLang="en-US" sz="4400" b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初判</a:t>
            </a:r>
            <a:r>
              <a:rPr lang="zh-CN" altLang="en-US" sz="4400" b="1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报告</a:t>
            </a:r>
            <a:endParaRPr lang="en-US" altLang="zh-CN" sz="4400" b="1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Text Box 1027"/>
          <p:cNvSpPr txBox="1">
            <a:spLocks noChangeArrowheads="1"/>
          </p:cNvSpPr>
          <p:nvPr/>
        </p:nvSpPr>
        <p:spPr bwMode="auto">
          <a:xfrm>
            <a:off x="0" y="7283451"/>
            <a:ext cx="12801600" cy="898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977" tIns="63990" rIns="127977" bIns="63990">
            <a:spAutoFit/>
          </a:bodyPr>
          <a:lstStyle/>
          <a:p>
            <a:pPr algn="ctr" defTabSz="1279525">
              <a:spcBef>
                <a:spcPts val="0"/>
              </a:spcBef>
            </a:pPr>
            <a:r>
              <a:rPr lang="zh-CN" altLang="en-US" sz="2500" b="1" dirty="0">
                <a:ea typeface="黑体" pitchFamily="2" charset="-122"/>
              </a:rPr>
              <a:t>天津城市公司</a:t>
            </a:r>
          </a:p>
          <a:p>
            <a:pPr algn="ctr" defTabSz="1279525">
              <a:spcBef>
                <a:spcPts val="0"/>
              </a:spcBef>
            </a:pPr>
            <a:r>
              <a:rPr lang="en-US" altLang="zh-CN" sz="2500" b="1" dirty="0">
                <a:ea typeface="黑体" pitchFamily="2" charset="-122"/>
              </a:rPr>
              <a:t>2020</a:t>
            </a:r>
            <a:r>
              <a:rPr lang="zh-CN" altLang="en-US" sz="2500" b="1" dirty="0">
                <a:ea typeface="黑体" pitchFamily="2" charset="-122"/>
              </a:rPr>
              <a:t>年</a:t>
            </a:r>
            <a:r>
              <a:rPr lang="en-US" altLang="zh-CN" sz="2500" b="1" dirty="0">
                <a:ea typeface="黑体" pitchFamily="2" charset="-122"/>
              </a:rPr>
              <a:t>07</a:t>
            </a:r>
            <a:r>
              <a:rPr lang="zh-CN" altLang="en-US" sz="2500" b="1" dirty="0" smtClean="0">
                <a:ea typeface="黑体" pitchFamily="2" charset="-122"/>
              </a:rPr>
              <a:t>月</a:t>
            </a:r>
            <a:r>
              <a:rPr lang="en-US" altLang="zh-CN" sz="2500" b="1" dirty="0" smtClean="0">
                <a:ea typeface="黑体" pitchFamily="2" charset="-122"/>
              </a:rPr>
              <a:t>20</a:t>
            </a:r>
            <a:r>
              <a:rPr lang="zh-CN" altLang="en-US" sz="2500" b="1" dirty="0" smtClean="0">
                <a:ea typeface="黑体" pitchFamily="2" charset="-122"/>
              </a:rPr>
              <a:t>日</a:t>
            </a:r>
            <a:endParaRPr lang="zh-CN" altLang="en-US" sz="2500" b="1" dirty="0">
              <a:ea typeface="黑体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矩形 20"/>
          <p:cNvSpPr/>
          <p:nvPr/>
        </p:nvSpPr>
        <p:spPr>
          <a:xfrm>
            <a:off x="328618" y="358130"/>
            <a:ext cx="4435111" cy="523208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r>
              <a:rPr lang="zh-CN" altLang="en-US" sz="28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周边控规</a:t>
            </a:r>
            <a:endParaRPr lang="zh-CN" altLang="en-US" sz="2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TextBox 1"/>
          <p:cNvSpPr txBox="1">
            <a:spLocks noChangeArrowheads="1"/>
          </p:cNvSpPr>
          <p:nvPr/>
        </p:nvSpPr>
        <p:spPr bwMode="auto">
          <a:xfrm>
            <a:off x="854304" y="1393078"/>
            <a:ext cx="11334072" cy="969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45714">
            <a:spAutoFit/>
          </a:bodyPr>
          <a:lstStyle>
            <a:lvl1pPr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1pPr>
            <a:lvl2pPr marL="742950" indent="-28575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2pPr>
            <a:lvl3pPr marL="11430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3pPr>
            <a:lvl4pPr marL="16002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4pPr>
            <a:lvl5pPr marL="20574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zh-CN" altLang="en-US" sz="2000" b="1" dirty="0">
                <a:latin typeface="微软雅黑" pitchFamily="34" charset="-122"/>
                <a:ea typeface="微软雅黑" pitchFamily="34" charset="-122"/>
              </a:rPr>
              <a:t>片区整体规划</a:t>
            </a:r>
            <a:r>
              <a:rPr lang="en-US" altLang="zh-CN" sz="2000" b="1" dirty="0">
                <a:latin typeface="微软雅黑" pitchFamily="34" charset="-122"/>
                <a:ea typeface="微软雅黑" pitchFamily="34" charset="-122"/>
              </a:rPr>
              <a:t>243</a:t>
            </a:r>
            <a:r>
              <a:rPr lang="zh-CN" altLang="en-US" sz="2000" b="1" dirty="0">
                <a:latin typeface="微软雅黑" pitchFamily="34" charset="-122"/>
                <a:ea typeface="微软雅黑" pitchFamily="34" charset="-122"/>
              </a:rPr>
              <a:t>公顷（</a:t>
            </a:r>
            <a:r>
              <a:rPr lang="en-US" altLang="zh-CN" sz="2000" b="1" dirty="0">
                <a:latin typeface="微软雅黑" pitchFamily="34" charset="-122"/>
                <a:ea typeface="微软雅黑" pitchFamily="34" charset="-122"/>
              </a:rPr>
              <a:t>3648</a:t>
            </a:r>
            <a:r>
              <a:rPr lang="zh-CN" altLang="en-US" sz="2000" b="1" dirty="0">
                <a:latin typeface="微软雅黑" pitchFamily="34" charset="-122"/>
                <a:ea typeface="微软雅黑" pitchFamily="34" charset="-122"/>
              </a:rPr>
              <a:t>亩），一期</a:t>
            </a:r>
            <a:r>
              <a:rPr lang="en-US" altLang="zh-CN" sz="2000" b="1" dirty="0">
                <a:latin typeface="微软雅黑" pitchFamily="34" charset="-122"/>
                <a:ea typeface="微软雅黑" pitchFamily="34" charset="-122"/>
              </a:rPr>
              <a:t>1820</a:t>
            </a:r>
            <a:r>
              <a:rPr lang="zh-CN" altLang="en-US" sz="2000" b="1" dirty="0">
                <a:latin typeface="微软雅黑" pitchFamily="34" charset="-122"/>
                <a:ea typeface="微软雅黑" pitchFamily="34" charset="-122"/>
              </a:rPr>
              <a:t>亩，本案位于一期首开地块，北侧为还迁地块。</a:t>
            </a:r>
            <a:endParaRPr lang="en-US" altLang="zh-CN" sz="2000" b="1" dirty="0">
              <a:latin typeface="微软雅黑" pitchFamily="34" charset="-122"/>
              <a:ea typeface="微软雅黑" pitchFamily="34" charset="-122"/>
            </a:endParaRPr>
          </a:p>
          <a:p>
            <a:pPr eaLnBrk="1" hangingPunct="1">
              <a:lnSpc>
                <a:spcPct val="150000"/>
              </a:lnSpc>
            </a:pPr>
            <a:r>
              <a:rPr lang="zh-CN" altLang="en-US" sz="2000" b="1" dirty="0">
                <a:latin typeface="微软雅黑" pitchFamily="34" charset="-122"/>
                <a:ea typeface="微软雅黑" pitchFamily="34" charset="-122"/>
              </a:rPr>
              <a:t>片区主要依托山河景资源，打造国家级滑雪小镇。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9914" y="2538844"/>
            <a:ext cx="6960358" cy="6619569"/>
          </a:xfrm>
          <a:prstGeom prst="rect">
            <a:avLst/>
          </a:prstGeom>
        </p:spPr>
      </p:pic>
      <p:sp>
        <p:nvSpPr>
          <p:cNvPr id="7" name="流程图: 联系 6"/>
          <p:cNvSpPr/>
          <p:nvPr/>
        </p:nvSpPr>
        <p:spPr bwMode="auto">
          <a:xfrm>
            <a:off x="8824086" y="5809074"/>
            <a:ext cx="164243" cy="164243"/>
          </a:xfrm>
          <a:prstGeom prst="flowChartConnector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  <p:cxnSp>
        <p:nvCxnSpPr>
          <p:cNvPr id="11" name="直接箭头连接符 10"/>
          <p:cNvCxnSpPr>
            <a:stCxn id="7" idx="0"/>
          </p:cNvCxnSpPr>
          <p:nvPr/>
        </p:nvCxnSpPr>
        <p:spPr bwMode="auto">
          <a:xfrm flipV="1">
            <a:off x="8906208" y="2623979"/>
            <a:ext cx="863548" cy="318509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</p:spPr>
      </p:cxnSp>
      <p:cxnSp>
        <p:nvCxnSpPr>
          <p:cNvPr id="31" name="直接箭头连接符 30"/>
          <p:cNvCxnSpPr>
            <a:stCxn id="7" idx="6"/>
          </p:cNvCxnSpPr>
          <p:nvPr/>
        </p:nvCxnSpPr>
        <p:spPr bwMode="auto">
          <a:xfrm>
            <a:off x="8988329" y="5891196"/>
            <a:ext cx="781427" cy="8212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</p:spPr>
      </p:cxnSp>
      <p:pic>
        <p:nvPicPr>
          <p:cNvPr id="37" name="图片 3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33999" y="2526811"/>
            <a:ext cx="2254377" cy="3446506"/>
          </a:xfrm>
          <a:prstGeom prst="rect">
            <a:avLst/>
          </a:prstGeom>
        </p:spPr>
      </p:pic>
      <p:pic>
        <p:nvPicPr>
          <p:cNvPr id="38" name="图片 3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4304" y="2532473"/>
            <a:ext cx="2247900" cy="6625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466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矩形 20"/>
          <p:cNvSpPr/>
          <p:nvPr/>
        </p:nvSpPr>
        <p:spPr>
          <a:xfrm>
            <a:off x="328618" y="358130"/>
            <a:ext cx="4435111" cy="523208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r>
              <a:rPr lang="zh-CN" altLang="en-US" sz="28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项目地块优劣势分析</a:t>
            </a:r>
            <a:endParaRPr lang="zh-CN" altLang="en-US" sz="2800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11" name="Group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3646018"/>
              </p:ext>
            </p:extLst>
          </p:nvPr>
        </p:nvGraphicFramePr>
        <p:xfrm>
          <a:off x="661621" y="2108372"/>
          <a:ext cx="11356205" cy="6608892"/>
        </p:xfrm>
        <a:graphic>
          <a:graphicData uri="http://schemas.openxmlformats.org/drawingml/2006/table">
            <a:tbl>
              <a:tblPr/>
              <a:tblGrid>
                <a:gridCol w="579723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55897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8917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优势</a:t>
                      </a:r>
                    </a:p>
                  </a:txBody>
                  <a:tcPr marL="99219" marR="99219" marT="46800" marB="46800" anchor="ctr" horzOverflow="overflow">
                    <a:lnL>
                      <a:noFill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劣势</a:t>
                      </a:r>
                    </a:p>
                  </a:txBody>
                  <a:tcPr marL="99219" marR="99219" marT="46800" marB="46800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1569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381000" marR="0" lvl="0" indent="-38100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zh-CN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符合承德市城市规划向南发展的大方向。</a:t>
                      </a:r>
                    </a:p>
                    <a:p>
                      <a:pPr marL="381000" marR="0" lvl="0" indent="-38100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zh-CN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地块紧邻城市高铁商圈，且背山面水，又处于国际滑雪小镇板块，自然宜居环境、城市商服配套及四季产业支撑三者兼得，这使得本项目在本地市场甚至环京市场上都具有唯一性、稀缺性。</a:t>
                      </a:r>
                    </a:p>
                    <a:p>
                      <a:pPr marL="381000" marR="0" lvl="0" indent="-38100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zh-CN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作方对滑雪度假区的专业化的投资、规划、建设、持有运营有效提升土地增值预期，且冰雪行业的发展目前处于国家政策强力驱动时期。</a:t>
                      </a:r>
                    </a:p>
                    <a:p>
                      <a:pPr marL="381000" marR="0" lvl="0" indent="-38100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zh-CN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土地已经获取，地价较低，满足快速开发条件。</a:t>
                      </a:r>
                      <a:endParaRPr kumimoji="0" lang="en-US" altLang="zh-CN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381000" marR="0" lvl="0" indent="-38100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zh-CN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作方产业勾地前期手续办理有绿色通道，当地政府资源深厚。</a:t>
                      </a:r>
                      <a:endParaRPr kumimoji="0" lang="en-US" altLang="zh-CN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381000" marR="0" lvl="0" indent="-38100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endParaRPr kumimoji="0" lang="zh-CN" alt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9219" marR="99219" marT="46800" marB="46800" anchor="ctr" horzOverflow="overflow">
                    <a:lnL>
                      <a:noFill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381000" marR="0" lvl="0" indent="-38100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zh-CN" altLang="en-US" sz="1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区域城市配套尚处于发展期，周边配套有待进一步完善。</a:t>
                      </a:r>
                      <a:endParaRPr kumimoji="0" lang="en-US" altLang="zh-CN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381000" marR="0" lvl="0" indent="-38100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zh-CN" altLang="en-US" sz="1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地块背靠山脉，工程开发条件要求标准高。</a:t>
                      </a:r>
                      <a:endParaRPr kumimoji="0" lang="en-US" altLang="zh-CN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9219" marR="99219" marT="46800" marB="46800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7088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503737" y="379819"/>
            <a:ext cx="1782264" cy="525463"/>
          </a:xfrm>
        </p:spPr>
        <p:txBody>
          <a:bodyPr/>
          <a:lstStyle/>
          <a:p>
            <a:pPr eaLnBrk="1" hangingPunct="1"/>
            <a:r>
              <a:rPr lang="zh-CN" sz="3000" dirty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目  录</a:t>
            </a:r>
            <a:endParaRPr lang="zh-CN" sz="3000" dirty="0"/>
          </a:p>
        </p:txBody>
      </p:sp>
      <p:sp>
        <p:nvSpPr>
          <p:cNvPr id="28" name="矩形 27"/>
          <p:cNvSpPr/>
          <p:nvPr/>
        </p:nvSpPr>
        <p:spPr>
          <a:xfrm>
            <a:off x="2015010" y="3080165"/>
            <a:ext cx="1080120" cy="66024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、</a:t>
            </a:r>
          </a:p>
        </p:txBody>
      </p:sp>
      <p:sp>
        <p:nvSpPr>
          <p:cNvPr id="29" name="矩形 28"/>
          <p:cNvSpPr/>
          <p:nvPr/>
        </p:nvSpPr>
        <p:spPr>
          <a:xfrm>
            <a:off x="3110410" y="3081053"/>
            <a:ext cx="5445762" cy="66024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  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概况</a:t>
            </a:r>
          </a:p>
        </p:txBody>
      </p:sp>
      <p:sp>
        <p:nvSpPr>
          <p:cNvPr id="38" name="矩形 37"/>
          <p:cNvSpPr/>
          <p:nvPr/>
        </p:nvSpPr>
        <p:spPr>
          <a:xfrm>
            <a:off x="2015010" y="4203573"/>
            <a:ext cx="1080120" cy="66024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、</a:t>
            </a:r>
          </a:p>
        </p:txBody>
      </p:sp>
      <p:sp>
        <p:nvSpPr>
          <p:cNvPr id="39" name="矩形 38"/>
          <p:cNvSpPr/>
          <p:nvPr/>
        </p:nvSpPr>
        <p:spPr>
          <a:xfrm>
            <a:off x="3110410" y="4204461"/>
            <a:ext cx="5445762" cy="66024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b="1" dirty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  </a:t>
            </a:r>
            <a:r>
              <a:rPr lang="zh-CN" altLang="en-US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房地产市场</a:t>
            </a:r>
          </a:p>
        </p:txBody>
      </p:sp>
      <p:sp>
        <p:nvSpPr>
          <p:cNvPr id="40" name="矩形 39"/>
          <p:cNvSpPr/>
          <p:nvPr/>
        </p:nvSpPr>
        <p:spPr>
          <a:xfrm>
            <a:off x="2015010" y="5326093"/>
            <a:ext cx="1080120" cy="66024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、</a:t>
            </a:r>
          </a:p>
        </p:txBody>
      </p:sp>
      <p:sp>
        <p:nvSpPr>
          <p:cNvPr id="43" name="矩形 42"/>
          <p:cNvSpPr/>
          <p:nvPr/>
        </p:nvSpPr>
        <p:spPr>
          <a:xfrm>
            <a:off x="3095130" y="5351331"/>
            <a:ext cx="5445762" cy="66024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  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项目测算及投资建议</a:t>
            </a:r>
          </a:p>
        </p:txBody>
      </p:sp>
    </p:spTree>
    <p:extLst>
      <p:ext uri="{BB962C8B-B14F-4D97-AF65-F5344CB8AC3E}">
        <p14:creationId xmlns:p14="http://schemas.microsoft.com/office/powerpoint/2010/main" val="2907946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40" name="组合 1"/>
          <p:cNvGrpSpPr>
            <a:grpSpLocks/>
          </p:cNvGrpSpPr>
          <p:nvPr/>
        </p:nvGrpSpPr>
        <p:grpSpPr bwMode="auto">
          <a:xfrm>
            <a:off x="505058" y="2225829"/>
            <a:ext cx="12076510" cy="6453447"/>
            <a:chOff x="244219" y="-51655"/>
            <a:chExt cx="11501256" cy="6145957"/>
          </a:xfrm>
        </p:grpSpPr>
        <p:grpSp>
          <p:nvGrpSpPr>
            <p:cNvPr id="14342" name="组合 11"/>
            <p:cNvGrpSpPr>
              <a:grpSpLocks/>
            </p:cNvGrpSpPr>
            <p:nvPr/>
          </p:nvGrpSpPr>
          <p:grpSpPr bwMode="auto">
            <a:xfrm>
              <a:off x="244219" y="945308"/>
              <a:ext cx="9199819" cy="5148994"/>
              <a:chOff x="501394" y="931710"/>
              <a:chExt cx="11002453" cy="5148994"/>
            </a:xfrm>
          </p:grpSpPr>
          <p:sp>
            <p:nvSpPr>
              <p:cNvPr id="14347" name="矩形 15"/>
              <p:cNvSpPr>
                <a:spLocks noChangeArrowheads="1"/>
              </p:cNvSpPr>
              <p:nvPr/>
            </p:nvSpPr>
            <p:spPr bwMode="auto">
              <a:xfrm>
                <a:off x="546327" y="931710"/>
                <a:ext cx="2647914" cy="4982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r>
                  <a:rPr lang="en-US" altLang="zh-CN" sz="14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017.4.10 </a:t>
                </a:r>
                <a:r>
                  <a:rPr lang="zh-CN" altLang="en-US" sz="14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承德颁布楼市限购令，外地人禁买二套房</a:t>
                </a:r>
                <a:endPara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348" name="矩形 16"/>
              <p:cNvSpPr>
                <a:spLocks noChangeArrowheads="1"/>
              </p:cNvSpPr>
              <p:nvPr/>
            </p:nvSpPr>
            <p:spPr bwMode="auto">
              <a:xfrm>
                <a:off x="557679" y="1929114"/>
                <a:ext cx="2561587" cy="32535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r>
                  <a:rPr lang="zh-CN" altLang="en-US" sz="1200" b="1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政策重点</a:t>
                </a:r>
                <a:r>
                  <a:rPr lang="en-US" altLang="zh-CN" sz="1200" b="1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:</a:t>
                </a:r>
              </a:p>
              <a:p>
                <a:r>
                  <a:rPr lang="en-US" altLang="zh-CN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r>
                  <a:rPr lang="zh-CN" altLang="en-US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、非本市户籍居民在中心城区内限购</a:t>
                </a:r>
                <a:r>
                  <a:rPr lang="en-US" altLang="zh-CN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r>
                  <a:rPr lang="zh-CN" altLang="en-US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套新建商品住房，且取得不动产证满</a:t>
                </a:r>
                <a:r>
                  <a:rPr lang="en-US" altLang="zh-CN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</a:t>
                </a:r>
                <a:r>
                  <a:rPr lang="zh-CN" altLang="en-US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年或方可转让；</a:t>
                </a:r>
                <a:endParaRPr lang="en-US" altLang="zh-CN" sz="12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en-US" altLang="zh-CN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</a:t>
                </a:r>
                <a:r>
                  <a:rPr lang="zh-CN" altLang="en-US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、兴隆、滦平纳入限购范围；</a:t>
                </a:r>
                <a:r>
                  <a:rPr lang="en-US" altLang="zh-CN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</a:t>
                </a:r>
                <a:r>
                  <a:rPr lang="zh-CN" altLang="en-US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、本市购房首付款不低于</a:t>
                </a:r>
                <a:r>
                  <a:rPr lang="en-US" altLang="zh-CN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0%</a:t>
                </a:r>
                <a:r>
                  <a:rPr lang="zh-CN" altLang="en-US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，非本市户籍首付比例不低于</a:t>
                </a:r>
                <a:r>
                  <a:rPr lang="en-US" altLang="zh-CN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50%</a:t>
                </a:r>
                <a:r>
                  <a:rPr lang="zh-CN" altLang="en-US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，已拥有</a:t>
                </a:r>
                <a:r>
                  <a:rPr lang="en-US" altLang="zh-CN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r>
                  <a:rPr lang="zh-CN" altLang="en-US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套本地户籍首套贷款还清或无贷款首付比例不低于</a:t>
                </a:r>
                <a:r>
                  <a:rPr lang="en-US" altLang="zh-CN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40%</a:t>
                </a:r>
                <a:r>
                  <a:rPr lang="zh-CN" altLang="en-US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，未还清首套贷款不低于</a:t>
                </a:r>
                <a:r>
                  <a:rPr lang="en-US" altLang="zh-CN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50%</a:t>
                </a:r>
                <a:r>
                  <a:rPr lang="zh-CN" altLang="en-US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；</a:t>
                </a:r>
                <a:endParaRPr lang="en-US" altLang="zh-CN" sz="12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en-US" altLang="zh-CN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4</a:t>
                </a:r>
                <a:r>
                  <a:rPr lang="zh-CN" altLang="en-US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、本地人购买第</a:t>
                </a:r>
                <a:r>
                  <a:rPr lang="en-US" altLang="zh-CN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</a:t>
                </a:r>
                <a:r>
                  <a:rPr lang="zh-CN" altLang="en-US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套及以上暂定办理贷款。</a:t>
                </a:r>
                <a:endParaRPr lang="en-US" altLang="zh-CN" sz="12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en-US" altLang="zh-CN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5</a:t>
                </a:r>
                <a:r>
                  <a:rPr lang="zh-CN" altLang="en-US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、加大房地产市场监管力度</a:t>
                </a:r>
                <a:endParaRPr lang="en-US" altLang="zh-CN" sz="12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en-US" altLang="zh-CN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6</a:t>
                </a:r>
                <a:r>
                  <a:rPr lang="zh-CN" altLang="en-US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、开发企业因企业原因</a:t>
                </a:r>
                <a:r>
                  <a:rPr lang="en-US" altLang="zh-CN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r>
                  <a:rPr lang="zh-CN" altLang="en-US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年未动工，按土地价格征缴</a:t>
                </a:r>
                <a:r>
                  <a:rPr lang="en-US" altLang="zh-CN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0%</a:t>
                </a:r>
                <a:r>
                  <a:rPr lang="zh-CN" altLang="en-US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土地闲置费。</a:t>
                </a:r>
              </a:p>
            </p:txBody>
          </p:sp>
          <p:grpSp>
            <p:nvGrpSpPr>
              <p:cNvPr id="14349" name="组合 18"/>
              <p:cNvGrpSpPr>
                <a:grpSpLocks/>
              </p:cNvGrpSpPr>
              <p:nvPr/>
            </p:nvGrpSpPr>
            <p:grpSpPr bwMode="auto">
              <a:xfrm>
                <a:off x="501394" y="1480390"/>
                <a:ext cx="11002453" cy="393491"/>
                <a:chOff x="698767" y="1840406"/>
                <a:chExt cx="11589774" cy="393491"/>
              </a:xfrm>
            </p:grpSpPr>
            <p:grpSp>
              <p:nvGrpSpPr>
                <p:cNvPr id="14356" name="组合 27"/>
                <p:cNvGrpSpPr>
                  <a:grpSpLocks/>
                </p:cNvGrpSpPr>
                <p:nvPr/>
              </p:nvGrpSpPr>
              <p:grpSpPr bwMode="auto">
                <a:xfrm>
                  <a:off x="698767" y="1840406"/>
                  <a:ext cx="8703897" cy="393491"/>
                  <a:chOff x="836052" y="5967865"/>
                  <a:chExt cx="9327304" cy="531425"/>
                </a:xfrm>
              </p:grpSpPr>
              <p:sp>
                <p:nvSpPr>
                  <p:cNvPr id="38" name="矩形 30"/>
                  <p:cNvSpPr/>
                  <p:nvPr/>
                </p:nvSpPr>
                <p:spPr>
                  <a:xfrm>
                    <a:off x="836052" y="5968646"/>
                    <a:ext cx="3111799" cy="225110"/>
                  </a:xfrm>
                  <a:prstGeom prst="rect">
                    <a:avLst/>
                  </a:prstGeom>
                  <a:solidFill>
                    <a:srgbClr val="1C466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kumimoji="1" lang="zh-CN" altLang="en-US" sz="2800" dirty="0"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39" name="矩形 31"/>
                  <p:cNvSpPr/>
                  <p:nvPr/>
                </p:nvSpPr>
                <p:spPr>
                  <a:xfrm>
                    <a:off x="3947851" y="5968646"/>
                    <a:ext cx="3109657" cy="225110"/>
                  </a:xfrm>
                  <a:prstGeom prst="rect">
                    <a:avLst/>
                  </a:prstGeom>
                  <a:solidFill>
                    <a:schemeClr val="tx1">
                      <a:lumMod val="50000"/>
                      <a:lumOff val="5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kumimoji="1" lang="zh-CN" altLang="en-US" sz="2800" dirty="0"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40" name="矩形 32"/>
                  <p:cNvSpPr/>
                  <p:nvPr/>
                </p:nvSpPr>
                <p:spPr>
                  <a:xfrm>
                    <a:off x="7051078" y="5968646"/>
                    <a:ext cx="3111799" cy="225110"/>
                  </a:xfrm>
                  <a:prstGeom prst="rect">
                    <a:avLst/>
                  </a:prstGeom>
                  <a:solidFill>
                    <a:srgbClr val="1C466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kumimoji="1" lang="zh-CN" altLang="en-US" sz="2800"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41" name="三角形 33"/>
                  <p:cNvSpPr/>
                  <p:nvPr/>
                </p:nvSpPr>
                <p:spPr>
                  <a:xfrm rot="10800000">
                    <a:off x="2209788" y="6183037"/>
                    <a:ext cx="355757" cy="306579"/>
                  </a:xfrm>
                  <a:prstGeom prst="triangle">
                    <a:avLst/>
                  </a:prstGeom>
                  <a:solidFill>
                    <a:srgbClr val="1C466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kumimoji="1" lang="zh-CN" altLang="en-US" sz="2800"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42" name="三角形 34"/>
                  <p:cNvSpPr/>
                  <p:nvPr/>
                </p:nvSpPr>
                <p:spPr>
                  <a:xfrm rot="10800000">
                    <a:off x="5358019" y="6183037"/>
                    <a:ext cx="355757" cy="306579"/>
                  </a:xfrm>
                  <a:prstGeom prst="triangle">
                    <a:avLst/>
                  </a:prstGeom>
                  <a:solidFill>
                    <a:schemeClr val="tx1">
                      <a:lumMod val="50000"/>
                      <a:lumOff val="5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kumimoji="1" lang="zh-CN" altLang="en-US" sz="2800"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43" name="三角形 35"/>
                  <p:cNvSpPr/>
                  <p:nvPr/>
                </p:nvSpPr>
                <p:spPr>
                  <a:xfrm rot="10800000">
                    <a:off x="8439814" y="6193756"/>
                    <a:ext cx="355757" cy="306581"/>
                  </a:xfrm>
                  <a:prstGeom prst="triangle">
                    <a:avLst/>
                  </a:prstGeom>
                  <a:solidFill>
                    <a:srgbClr val="1C466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kumimoji="1" lang="zh-CN" altLang="en-US" sz="2800"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</p:grpSp>
            <p:sp>
              <p:nvSpPr>
                <p:cNvPr id="36" name="矩形 28"/>
                <p:cNvSpPr/>
                <p:nvPr/>
              </p:nvSpPr>
              <p:spPr>
                <a:xfrm>
                  <a:off x="9384218" y="1840984"/>
                  <a:ext cx="2903816" cy="166682"/>
                </a:xfrm>
                <a:prstGeom prst="rect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kumimoji="1" lang="zh-CN" altLang="en-US" sz="2800" dirty="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7" name="三角形 29"/>
                <p:cNvSpPr/>
                <p:nvPr/>
              </p:nvSpPr>
              <p:spPr>
                <a:xfrm rot="10800000">
                  <a:off x="10702134" y="1999729"/>
                  <a:ext cx="331979" cy="227005"/>
                </a:xfrm>
                <a:prstGeom prst="triangl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kumimoji="1" lang="zh-CN" altLang="en-US" sz="2800" dirty="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14350" name="矩形 19"/>
              <p:cNvSpPr>
                <a:spLocks noChangeArrowheads="1"/>
              </p:cNvSpPr>
              <p:nvPr/>
            </p:nvSpPr>
            <p:spPr bwMode="auto">
              <a:xfrm>
                <a:off x="3134859" y="944340"/>
                <a:ext cx="2647914" cy="4982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r>
                  <a:rPr lang="en-US" altLang="zh-CN" sz="14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017.5.15 </a:t>
                </a:r>
                <a:r>
                  <a:rPr lang="zh-CN" altLang="en-US" sz="14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进一步强化调控措施稳定全市房地产市场</a:t>
                </a:r>
                <a:endPara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351" name="矩形 20"/>
              <p:cNvSpPr>
                <a:spLocks noChangeArrowheads="1"/>
              </p:cNvSpPr>
              <p:nvPr/>
            </p:nvSpPr>
            <p:spPr bwMode="auto">
              <a:xfrm>
                <a:off x="3337041" y="1966544"/>
                <a:ext cx="2561587" cy="27259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r>
                  <a:rPr lang="zh-CN" altLang="en-US" sz="12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政策重点</a:t>
                </a:r>
                <a:r>
                  <a:rPr lang="en-US" altLang="zh-CN" sz="12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:</a:t>
                </a:r>
              </a:p>
              <a:p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、丰宁、承德县、平泉县、兴隆县、滦平县纳入调控范围。</a:t>
                </a:r>
                <a:endPara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、非本市人购房需提供</a:t>
                </a:r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年以上纳税证明或社会保险，限购</a:t>
                </a:r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套（含二手住房）；</a:t>
                </a:r>
                <a:endPara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、本市户籍限购第</a:t>
                </a:r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套商品房住宅；</a:t>
                </a:r>
                <a:endPara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4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、暂停公积金异地贷款业务，停止公积金贷款置换商业贷款业务。</a:t>
                </a:r>
                <a:endPara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5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、开发商取得预售</a:t>
                </a:r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0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日内一次性公开全部房源并销售，一房一价，不得超备案价。</a:t>
                </a:r>
              </a:p>
            </p:txBody>
          </p:sp>
          <p:sp>
            <p:nvSpPr>
              <p:cNvPr id="14352" name="矩形 21"/>
              <p:cNvSpPr>
                <a:spLocks noChangeArrowheads="1"/>
              </p:cNvSpPr>
              <p:nvPr/>
            </p:nvSpPr>
            <p:spPr bwMode="auto">
              <a:xfrm>
                <a:off x="6008052" y="938479"/>
                <a:ext cx="2647914" cy="4982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r>
                  <a:rPr lang="en-US" altLang="zh-CN" sz="1400" b="1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018.12.22 </a:t>
                </a:r>
                <a:r>
                  <a:rPr lang="zh-CN" altLang="en-US" sz="1400" b="1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进一步做好房地产市场调控工作的意见</a:t>
                </a:r>
                <a:endParaRPr lang="zh-CN" altLang="en-US" sz="14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353" name="矩形 23"/>
              <p:cNvSpPr>
                <a:spLocks noChangeArrowheads="1"/>
              </p:cNvSpPr>
              <p:nvPr/>
            </p:nvSpPr>
            <p:spPr bwMode="auto">
              <a:xfrm>
                <a:off x="6093857" y="1947828"/>
                <a:ext cx="2561587" cy="41328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r>
                  <a:rPr lang="zh-CN" altLang="en-US" sz="12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政策重点</a:t>
                </a:r>
                <a:r>
                  <a:rPr lang="en-US" altLang="zh-CN" sz="12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:</a:t>
                </a:r>
              </a:p>
              <a:p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、强调“房子是用来住的，不是用来炒的”定位。</a:t>
                </a:r>
                <a:endPara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、开发企业因企业原因造成土地闲置</a:t>
                </a:r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年，征缴土地闲置费，</a:t>
                </a:r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年未动工，依法收回建设用地使用权。</a:t>
                </a:r>
                <a:endPara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、围场县、隆化县、宽城县纳入调控范围。</a:t>
                </a:r>
                <a:endPara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4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、</a:t>
                </a:r>
                <a:r>
                  <a:rPr lang="zh-CN" altLang="en-US" sz="1200" u="sng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市外迁入户籍不满</a:t>
                </a:r>
                <a:r>
                  <a:rPr lang="en-US" altLang="zh-CN" sz="1200" u="sng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r>
                  <a:rPr lang="zh-CN" altLang="en-US" sz="1200" u="sng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年的限购。落户学校计提的在校大学生限购商品房。夫妻离异后，任何一方</a:t>
                </a:r>
                <a:r>
                  <a:rPr lang="en-US" altLang="zh-CN" sz="1200" u="sng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r>
                  <a:rPr lang="zh-CN" altLang="en-US" sz="1200" u="sng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年内购买住房的，其拥有住房套数按里以前家庭总套数计算。</a:t>
                </a:r>
                <a:endParaRPr lang="en-US" altLang="zh-CN" sz="1200" u="sng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en-US" altLang="zh-CN" sz="1200" u="sng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5</a:t>
                </a:r>
                <a:r>
                  <a:rPr lang="zh-CN" altLang="en-US" sz="1200" u="sng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、沿河执行商品房预售资金监管规定，确保预售资金全部纳入专户管理。</a:t>
                </a:r>
                <a:endParaRPr lang="en-US" altLang="zh-CN" sz="1200" u="sng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6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、眼里打击规避调控政策行为：一是教唆诱导提供虚假证明材料，而是协助伪造证明材料。暂停网签资格</a:t>
                </a:r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6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个月，当事人</a:t>
                </a:r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5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年内不得在我时购房。</a:t>
                </a:r>
              </a:p>
            </p:txBody>
          </p:sp>
          <p:sp>
            <p:nvSpPr>
              <p:cNvPr id="14354" name="矩形 24"/>
              <p:cNvSpPr>
                <a:spLocks noChangeArrowheads="1"/>
              </p:cNvSpPr>
              <p:nvPr/>
            </p:nvSpPr>
            <p:spPr bwMode="auto">
              <a:xfrm>
                <a:off x="8728437" y="958214"/>
                <a:ext cx="2647914" cy="4982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r>
                  <a:rPr lang="en-US" altLang="zh-CN" sz="1400" b="1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019.10.23 </a:t>
                </a:r>
                <a:r>
                  <a:rPr lang="zh-CN" altLang="en-US" sz="1400" b="1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进一步加强网签备案管理预售资金监管</a:t>
                </a:r>
                <a:endParaRPr lang="zh-CN" altLang="en-US" sz="14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355" name="矩形 26"/>
              <p:cNvSpPr>
                <a:spLocks noChangeArrowheads="1"/>
              </p:cNvSpPr>
              <p:nvPr/>
            </p:nvSpPr>
            <p:spPr bwMode="auto">
              <a:xfrm>
                <a:off x="8942260" y="1916735"/>
                <a:ext cx="2561587" cy="16707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r>
                  <a:rPr lang="zh-CN" altLang="en-US" sz="1200" b="1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政策重点</a:t>
                </a:r>
                <a:r>
                  <a:rPr lang="en-US" altLang="zh-CN" sz="1200" b="1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:</a:t>
                </a:r>
              </a:p>
              <a:p>
                <a:r>
                  <a:rPr lang="en-US" altLang="zh-CN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r>
                  <a:rPr lang="zh-CN" altLang="en-US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、强调商品房买卖合同签订后及时网签和备案；</a:t>
                </a:r>
                <a:endParaRPr lang="en-US" altLang="zh-CN" sz="12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en-US" altLang="zh-CN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</a:t>
                </a:r>
                <a:r>
                  <a:rPr lang="zh-CN" altLang="en-US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、开发企业应告知购房人首付款或全款直接存入预售监管资金账户；</a:t>
                </a:r>
                <a:endParaRPr lang="en-US" altLang="zh-CN" sz="12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en-US" altLang="zh-CN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</a:t>
                </a:r>
                <a:r>
                  <a:rPr lang="zh-CN" altLang="en-US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、抵押贷款应设置为资金监管账户，分期付款也应按照合同约定直接存入预售监管账户</a:t>
                </a:r>
                <a:r>
                  <a:rPr lang="en-US" altLang="zh-CN" sz="12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.</a:t>
                </a:r>
              </a:p>
            </p:txBody>
          </p:sp>
        </p:grpSp>
        <p:sp>
          <p:nvSpPr>
            <p:cNvPr id="22" name="矩形 36"/>
            <p:cNvSpPr/>
            <p:nvPr/>
          </p:nvSpPr>
          <p:spPr>
            <a:xfrm>
              <a:off x="9440461" y="1494566"/>
              <a:ext cx="2305014" cy="165095"/>
            </a:xfrm>
            <a:prstGeom prst="rect">
              <a:avLst/>
            </a:prstGeom>
            <a:solidFill>
              <a:srgbClr val="1C46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kumimoji="1" lang="zh-CN" altLang="en-US" sz="28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三角形 37"/>
            <p:cNvSpPr/>
            <p:nvPr/>
          </p:nvSpPr>
          <p:spPr>
            <a:xfrm rot="10800000">
              <a:off x="10469145" y="1659661"/>
              <a:ext cx="263521" cy="227005"/>
            </a:xfrm>
            <a:prstGeom prst="triangle">
              <a:avLst/>
            </a:prstGeom>
            <a:solidFill>
              <a:srgbClr val="1C46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kumimoji="1" lang="zh-CN" altLang="en-US" sz="28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345" name="矩形 38"/>
            <p:cNvSpPr>
              <a:spLocks noChangeArrowheads="1"/>
            </p:cNvSpPr>
            <p:nvPr/>
          </p:nvSpPr>
          <p:spPr bwMode="auto">
            <a:xfrm>
              <a:off x="9447690" y="1942712"/>
              <a:ext cx="2043071" cy="20224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lang="zh-CN" altLang="en-US" sz="1200" b="1">
                  <a:latin typeface="微软雅黑" panose="020B0503020204020204" pitchFamily="34" charset="-122"/>
                  <a:ea typeface="微软雅黑" panose="020B0503020204020204" pitchFamily="34" charset="-122"/>
                </a:rPr>
                <a:t>政策重点</a:t>
              </a:r>
              <a:r>
                <a:rPr lang="en-US" altLang="zh-CN" sz="1200" b="1">
                  <a:latin typeface="微软雅黑" panose="020B0503020204020204" pitchFamily="34" charset="-122"/>
                  <a:ea typeface="微软雅黑" panose="020B0503020204020204" pitchFamily="34" charset="-122"/>
                </a:rPr>
                <a:t>:</a:t>
              </a:r>
            </a:p>
            <a:p>
              <a:r>
                <a:rPr lang="en-US" altLang="zh-CN" sz="1200"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</a:rPr>
                <a:t>、降低商品房预售资金监管标准，预售节点监管资金重点额度由项目报价总额的</a:t>
              </a:r>
              <a:r>
                <a:rPr lang="en-US" altLang="zh-CN" sz="1200">
                  <a:latin typeface="微软雅黑" panose="020B0503020204020204" pitchFamily="34" charset="-122"/>
                  <a:ea typeface="微软雅黑" panose="020B0503020204020204" pitchFamily="34" charset="-122"/>
                </a:rPr>
                <a:t>35%</a:t>
              </a: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</a:rPr>
                <a:t>监管将至</a:t>
              </a:r>
              <a:r>
                <a:rPr lang="en-US" altLang="zh-CN" sz="1200">
                  <a:latin typeface="微软雅黑" panose="020B0503020204020204" pitchFamily="34" charset="-122"/>
                  <a:ea typeface="微软雅黑" panose="020B0503020204020204" pitchFamily="34" charset="-122"/>
                </a:rPr>
                <a:t>30%</a:t>
              </a: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</a:rPr>
                <a:t>（不低于</a:t>
              </a:r>
              <a:r>
                <a:rPr lang="en-US" altLang="zh-CN" sz="1200">
                  <a:latin typeface="微软雅黑" panose="020B0503020204020204" pitchFamily="34" charset="-122"/>
                  <a:ea typeface="微软雅黑" panose="020B0503020204020204" pitchFamily="34" charset="-122"/>
                </a:rPr>
                <a:t>2000</a:t>
              </a: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</a:rPr>
                <a:t>元</a:t>
              </a:r>
              <a:r>
                <a:rPr lang="en-US" altLang="zh-CN" sz="1200">
                  <a:latin typeface="微软雅黑" panose="020B0503020204020204" pitchFamily="34" charset="-122"/>
                  <a:ea typeface="微软雅黑" panose="020B0503020204020204" pitchFamily="34" charset="-122"/>
                </a:rPr>
                <a:t>/㎡</a:t>
              </a: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不超过</a:t>
              </a:r>
              <a:r>
                <a:rPr lang="en-US" altLang="zh-CN" sz="1200">
                  <a:latin typeface="微软雅黑" panose="020B0503020204020204" pitchFamily="34" charset="-122"/>
                  <a:ea typeface="微软雅黑" panose="020B0503020204020204" pitchFamily="34" charset="-122"/>
                </a:rPr>
                <a:t>3000</a:t>
              </a: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</a:rPr>
                <a:t>元</a:t>
              </a:r>
              <a:r>
                <a:rPr lang="en-US" altLang="zh-CN" sz="1200">
                  <a:latin typeface="微软雅黑" panose="020B0503020204020204" pitchFamily="34" charset="-122"/>
                  <a:ea typeface="微软雅黑" panose="020B0503020204020204" pitchFamily="34" charset="-122"/>
                </a:rPr>
                <a:t>/㎡</a:t>
              </a: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；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n-US" altLang="zh-CN" sz="1200"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</a:rPr>
                <a:t>、增加“外墙装饰”支取节点；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n-US" altLang="zh-CN" sz="1200"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</a:rPr>
                <a:t>、简化支取手续；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n-US" altLang="zh-CN" sz="1200">
                  <a:latin typeface="微软雅黑" panose="020B0503020204020204" pitchFamily="34" charset="-122"/>
                  <a:ea typeface="微软雅黑" panose="020B0503020204020204" pitchFamily="34" charset="-122"/>
                </a:rPr>
                <a:t>4</a:t>
              </a:r>
              <a:r>
                <a: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</a:rPr>
                <a:t>、加大监督执法力度；</a:t>
              </a:r>
              <a:endPara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346" name="矩形 39"/>
            <p:cNvSpPr>
              <a:spLocks noChangeArrowheads="1"/>
            </p:cNvSpPr>
            <p:nvPr/>
          </p:nvSpPr>
          <p:spPr bwMode="auto">
            <a:xfrm>
              <a:off x="419256" y="-51655"/>
              <a:ext cx="10914643" cy="6741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lang="zh-CN" altLang="en-US" sz="2000" b="1" u="sng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自</a:t>
              </a:r>
              <a:r>
                <a:rPr lang="en-US" altLang="zh-CN" sz="2000" b="1" u="sng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017</a:t>
              </a:r>
              <a:r>
                <a:rPr lang="zh-CN" altLang="en-US" sz="2000" b="1" u="sng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至今承德楼市调控频出、市场整顿力度升级，未来短期内继续坚持限购政策，以巩固调控效果 ；“新冠疫情”后，房地产市场政策走向将成为市场短时间内发展重点因素。</a:t>
              </a:r>
              <a:endParaRPr lang="zh-CN" altLang="en-US" sz="2000" u="sng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4341" name="矩形 40"/>
          <p:cNvSpPr>
            <a:spLocks noChangeArrowheads="1"/>
          </p:cNvSpPr>
          <p:nvPr/>
        </p:nvSpPr>
        <p:spPr bwMode="auto">
          <a:xfrm>
            <a:off x="10256278" y="3301994"/>
            <a:ext cx="232529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/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0.3.01 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降低商品房预售资金监管标准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文本框 9"/>
          <p:cNvSpPr>
            <a:spLocks noChangeArrowheads="1"/>
          </p:cNvSpPr>
          <p:nvPr/>
        </p:nvSpPr>
        <p:spPr bwMode="auto">
          <a:xfrm>
            <a:off x="785099" y="1353503"/>
            <a:ext cx="10216276" cy="46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9" tIns="36005" rIns="72009" bIns="36005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lvl="1" eaLnBrk="1" hangingPunct="1"/>
            <a:r>
              <a:rPr lang="zh-CN" altLang="en-US" sz="252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宏观政策</a:t>
            </a:r>
            <a:endParaRPr lang="zh-CN" altLang="en-US" sz="252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328618" y="358130"/>
            <a:ext cx="4435111" cy="523208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r>
              <a:rPr lang="zh-CN" altLang="en-US" sz="28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房地产</a:t>
            </a:r>
            <a:r>
              <a:rPr lang="zh-CN" altLang="en-US" sz="28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市场</a:t>
            </a:r>
            <a:endParaRPr lang="zh-CN" altLang="en-US" sz="2800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38994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文本框 9"/>
          <p:cNvSpPr>
            <a:spLocks noChangeArrowheads="1"/>
          </p:cNvSpPr>
          <p:nvPr/>
        </p:nvSpPr>
        <p:spPr bwMode="auto">
          <a:xfrm>
            <a:off x="785099" y="1353503"/>
            <a:ext cx="10216276" cy="46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9" tIns="36005" rIns="72009" bIns="36005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lvl="1" eaLnBrk="1" hangingPunct="1"/>
            <a:r>
              <a:rPr lang="zh-CN" altLang="en-US" sz="252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宏观政策</a:t>
            </a:r>
            <a:endParaRPr lang="zh-CN" altLang="en-US" sz="2520" b="1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5364" name="矩形 36"/>
          <p:cNvSpPr>
            <a:spLocks noChangeArrowheads="1"/>
          </p:cNvSpPr>
          <p:nvPr/>
        </p:nvSpPr>
        <p:spPr bwMode="auto">
          <a:xfrm>
            <a:off x="701755" y="2345294"/>
            <a:ext cx="11639788" cy="1705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承德限购政策：</a:t>
            </a:r>
          </a:p>
          <a:p>
            <a:pPr>
              <a:lnSpc>
                <a:spcPct val="150000"/>
              </a:lnSpc>
            </a:pP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承德本地户口限购两套，首套</a:t>
            </a: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0%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首付，二套首套还清</a:t>
            </a: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0%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未还清</a:t>
            </a: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0%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首付；公积金首套</a:t>
            </a: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0%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首付，二套还清</a:t>
            </a: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0%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未还清拒贷（单身最多贷</a:t>
            </a: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0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， 夫妻双方最多贷</a:t>
            </a: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0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，岁数大的看年龄及还款能力评估）</a:t>
            </a:r>
          </a:p>
          <a:p>
            <a:pPr>
              <a:lnSpc>
                <a:spcPct val="150000"/>
              </a:lnSpc>
            </a:pP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外地户口本地</a:t>
            </a: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以上社保或</a:t>
            </a: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以上纳税证明，首付</a:t>
            </a: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0% </a:t>
            </a:r>
          </a:p>
        </p:txBody>
      </p:sp>
      <p:sp>
        <p:nvSpPr>
          <p:cNvPr id="15365" name="文本框 37"/>
          <p:cNvSpPr txBox="1">
            <a:spLocks noChangeArrowheads="1"/>
          </p:cNvSpPr>
          <p:nvPr/>
        </p:nvSpPr>
        <p:spPr bwMode="auto">
          <a:xfrm>
            <a:off x="701755" y="4141312"/>
            <a:ext cx="11508105" cy="216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kumimoji="1"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银行利率：</a:t>
            </a:r>
            <a:endParaRPr kumimoji="1" lang="en-US" altLang="zh-CN" sz="1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商业贷款基准利率</a:t>
            </a:r>
            <a:r>
              <a:rPr kumimoji="1"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9%</a:t>
            </a:r>
            <a:r>
              <a:rPr kumimoji="1"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首套上浮</a:t>
            </a:r>
            <a:r>
              <a:rPr kumimoji="1"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%--20%</a:t>
            </a:r>
            <a:r>
              <a:rPr kumimoji="1"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二套上浮</a:t>
            </a:r>
            <a:r>
              <a:rPr kumimoji="1"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2%--50%</a:t>
            </a:r>
            <a:r>
              <a:rPr kumimoji="1"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首套房最低首付</a:t>
            </a:r>
            <a:r>
              <a:rPr kumimoji="1"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0%</a:t>
            </a:r>
            <a:r>
              <a:rPr kumimoji="1"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二套房全款首付</a:t>
            </a:r>
            <a:r>
              <a:rPr kumimoji="1"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0%</a:t>
            </a:r>
            <a:r>
              <a:rPr kumimoji="1"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有贷款未还清的</a:t>
            </a:r>
            <a:r>
              <a:rPr kumimoji="1"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0%</a:t>
            </a:r>
            <a:r>
              <a:rPr kumimoji="1"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kumimoji="1"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积金基准利率</a:t>
            </a:r>
            <a:r>
              <a:rPr kumimoji="1"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25%</a:t>
            </a:r>
            <a:r>
              <a:rPr kumimoji="1"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外地公积金不可用，本地公积金单人最高贷</a:t>
            </a:r>
            <a:r>
              <a:rPr kumimoji="1"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0</a:t>
            </a:r>
            <a:r>
              <a:rPr kumimoji="1"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，双人最高贷</a:t>
            </a:r>
            <a:r>
              <a:rPr kumimoji="1"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0</a:t>
            </a:r>
            <a:r>
              <a:rPr kumimoji="1"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，首套房最低首付</a:t>
            </a:r>
            <a:r>
              <a:rPr kumimoji="1"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0%</a:t>
            </a:r>
            <a:r>
              <a:rPr kumimoji="1"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二套</a:t>
            </a:r>
            <a:r>
              <a:rPr kumimoji="1"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0%</a:t>
            </a:r>
            <a:r>
              <a:rPr kumimoji="1"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有贷款未还清的不能使用公积金。</a:t>
            </a:r>
            <a:endParaRPr kumimoji="1"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366" name="矩形 38"/>
          <p:cNvSpPr>
            <a:spLocks noChangeArrowheads="1"/>
          </p:cNvSpPr>
          <p:nvPr/>
        </p:nvSpPr>
        <p:spPr bwMode="auto">
          <a:xfrm>
            <a:off x="701755" y="6352829"/>
            <a:ext cx="5955744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限价：</a:t>
            </a:r>
            <a:endParaRPr lang="en-US" altLang="zh-CN" sz="1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双桥区备案均价最高不得超过</a:t>
            </a: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2000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元/㎡</a:t>
            </a: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双滦区备案均价最高不超过</a:t>
            </a: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7200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㎡</a:t>
            </a:r>
          </a:p>
          <a:p>
            <a:pPr>
              <a:lnSpc>
                <a:spcPct val="150000"/>
              </a:lnSpc>
            </a:pP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开发区备案均价不超过</a:t>
            </a: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2000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㎡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328618" y="358130"/>
            <a:ext cx="4435111" cy="523208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r>
              <a:rPr lang="zh-CN" altLang="en-US" sz="28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房地产市场</a:t>
            </a:r>
            <a:endParaRPr lang="zh-CN" altLang="en-US" sz="2800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8210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矩形 20"/>
          <p:cNvSpPr/>
          <p:nvPr/>
        </p:nvSpPr>
        <p:spPr>
          <a:xfrm>
            <a:off x="328618" y="358130"/>
            <a:ext cx="4435111" cy="523208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r>
              <a:rPr lang="zh-CN" altLang="en-US" sz="28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土地市场</a:t>
            </a:r>
            <a:endParaRPr lang="zh-CN" altLang="en-US" sz="2800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5927" y="1310121"/>
            <a:ext cx="10922758" cy="7859882"/>
          </a:xfrm>
          <a:prstGeom prst="rect">
            <a:avLst/>
          </a:prstGeom>
        </p:spPr>
      </p:pic>
      <p:sp>
        <p:nvSpPr>
          <p:cNvPr id="4" name="TextBox 1"/>
          <p:cNvSpPr txBox="1">
            <a:spLocks noChangeArrowheads="1"/>
          </p:cNvSpPr>
          <p:nvPr/>
        </p:nvSpPr>
        <p:spPr bwMode="auto">
          <a:xfrm>
            <a:off x="965926" y="1337831"/>
            <a:ext cx="11032109" cy="8373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45714">
            <a:spAutoFit/>
          </a:bodyPr>
          <a:lstStyle>
            <a:lvl1pPr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1pPr>
            <a:lvl2pPr marL="742950" indent="-28575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2pPr>
            <a:lvl3pPr marL="11430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3pPr>
            <a:lvl4pPr marL="16002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4pPr>
            <a:lvl5pPr marL="20574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9pPr>
          </a:lstStyle>
          <a:p>
            <a:pPr eaLnBrk="1" hangingPunct="1">
              <a:lnSpc>
                <a:spcPct val="150000"/>
              </a:lnSpc>
            </a:pPr>
            <a:endParaRPr lang="en-US" altLang="zh-CN" sz="20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965925" y="1494989"/>
            <a:ext cx="109227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案处于新进发展区域，周边土地成交较少，高新区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9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成交楼面价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4500-5000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，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案成交楼面价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417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，价格优势明显。</a:t>
            </a:r>
          </a:p>
        </p:txBody>
      </p:sp>
    </p:spTree>
    <p:extLst>
      <p:ext uri="{BB962C8B-B14F-4D97-AF65-F5344CB8AC3E}">
        <p14:creationId xmlns:p14="http://schemas.microsoft.com/office/powerpoint/2010/main" val="2514806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="" xmlns:a16="http://schemas.microsoft.com/office/drawing/2014/main" id="{9FB6F648-1161-45B1-9C4F-D9A39FB369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01713" y="2778009"/>
            <a:ext cx="7472475" cy="5845457"/>
          </a:xfrm>
          <a:prstGeom prst="rect">
            <a:avLst/>
          </a:prstGeom>
        </p:spPr>
      </p:pic>
      <p:sp>
        <p:nvSpPr>
          <p:cNvPr id="5" name="椭圆 4">
            <a:extLst>
              <a:ext uri="{FF2B5EF4-FFF2-40B4-BE49-F238E27FC236}">
                <a16:creationId xmlns="" xmlns:a16="http://schemas.microsoft.com/office/drawing/2014/main" id="{D3E61417-1C71-49E7-A819-CD2B3ECC7A07}"/>
              </a:ext>
            </a:extLst>
          </p:cNvPr>
          <p:cNvSpPr/>
          <p:nvPr/>
        </p:nvSpPr>
        <p:spPr bwMode="auto">
          <a:xfrm>
            <a:off x="7288613" y="5700737"/>
            <a:ext cx="2138766" cy="2216257"/>
          </a:xfrm>
          <a:prstGeom prst="ellipse">
            <a:avLst/>
          </a:prstGeom>
          <a:solidFill>
            <a:srgbClr val="C00000">
              <a:alpha val="16863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开发区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kumimoji="0" lang="en-US" altLang="zh-CN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11056</a:t>
            </a:r>
            <a:r>
              <a:rPr kumimoji="0" lang="zh-CN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</a:t>
            </a:r>
            <a:endParaRPr kumimoji="0" lang="zh-CN" altLang="en-US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椭圆 5">
            <a:extLst>
              <a:ext uri="{FF2B5EF4-FFF2-40B4-BE49-F238E27FC236}">
                <a16:creationId xmlns="" xmlns:a16="http://schemas.microsoft.com/office/drawing/2014/main" id="{86FC947B-058C-47AD-AA46-A4F5BCF699D2}"/>
              </a:ext>
            </a:extLst>
          </p:cNvPr>
          <p:cNvSpPr/>
          <p:nvPr/>
        </p:nvSpPr>
        <p:spPr bwMode="auto">
          <a:xfrm>
            <a:off x="7724854" y="3221411"/>
            <a:ext cx="2138766" cy="2216257"/>
          </a:xfrm>
          <a:prstGeom prst="ellipse">
            <a:avLst/>
          </a:prstGeom>
          <a:solidFill>
            <a:schemeClr val="tx1">
              <a:lumMod val="50000"/>
              <a:lumOff val="50000"/>
              <a:alpha val="16863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老城区</a:t>
            </a: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双桥</a:t>
            </a: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1251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</a:t>
            </a:r>
            <a:endParaRPr kumimoji="0" lang="zh-CN" alt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="" xmlns:a16="http://schemas.microsoft.com/office/drawing/2014/main" id="{F68BC787-2658-4EC8-9986-39A2F3BDF8A2}"/>
              </a:ext>
            </a:extLst>
          </p:cNvPr>
          <p:cNvSpPr/>
          <p:nvPr/>
        </p:nvSpPr>
        <p:spPr bwMode="auto">
          <a:xfrm>
            <a:off x="5243901" y="3221411"/>
            <a:ext cx="2138766" cy="2216257"/>
          </a:xfrm>
          <a:prstGeom prst="ellipse">
            <a:avLst/>
          </a:prstGeom>
          <a:solidFill>
            <a:schemeClr val="tx1">
              <a:lumMod val="50000"/>
              <a:lumOff val="50000"/>
              <a:alpha val="16863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kumimoji="0" lang="zh-CN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双栾区</a:t>
            </a:r>
            <a:endParaRPr kumimoji="0" lang="en-US" altLang="zh-CN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7039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</a:t>
            </a:r>
          </a:p>
        </p:txBody>
      </p:sp>
      <p:sp>
        <p:nvSpPr>
          <p:cNvPr id="8" name="星形: 五角 7">
            <a:extLst>
              <a:ext uri="{FF2B5EF4-FFF2-40B4-BE49-F238E27FC236}">
                <a16:creationId xmlns="" xmlns:a16="http://schemas.microsoft.com/office/drawing/2014/main" id="{6686465E-89D9-47DB-8613-C55FC3E38A3F}"/>
              </a:ext>
            </a:extLst>
          </p:cNvPr>
          <p:cNvSpPr/>
          <p:nvPr/>
        </p:nvSpPr>
        <p:spPr bwMode="auto">
          <a:xfrm>
            <a:off x="9863619" y="8091658"/>
            <a:ext cx="294469" cy="468473"/>
          </a:xfrm>
          <a:prstGeom prst="star5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="" xmlns:a16="http://schemas.microsoft.com/office/drawing/2014/main" id="{B1CBE2C0-8AC7-4A28-8F33-A3B3B0ED8A88}"/>
              </a:ext>
            </a:extLst>
          </p:cNvPr>
          <p:cNvSpPr txBox="1"/>
          <p:nvPr/>
        </p:nvSpPr>
        <p:spPr>
          <a:xfrm>
            <a:off x="10256433" y="8190799"/>
            <a:ext cx="1464715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宗地位置</a:t>
            </a:r>
          </a:p>
        </p:txBody>
      </p:sp>
      <p:graphicFrame>
        <p:nvGraphicFramePr>
          <p:cNvPr id="11" name="表格 10">
            <a:extLst>
              <a:ext uri="{FF2B5EF4-FFF2-40B4-BE49-F238E27FC236}">
                <a16:creationId xmlns="" xmlns:a16="http://schemas.microsoft.com/office/drawing/2014/main" id="{79744025-2C32-46B2-9B9A-54E983B32E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889905"/>
              </p:ext>
            </p:extLst>
          </p:nvPr>
        </p:nvGraphicFramePr>
        <p:xfrm>
          <a:off x="427412" y="2544207"/>
          <a:ext cx="3914392" cy="6607076"/>
        </p:xfrm>
        <a:graphic>
          <a:graphicData uri="http://schemas.openxmlformats.org/drawingml/2006/table">
            <a:tbl>
              <a:tblPr/>
              <a:tblGrid>
                <a:gridCol w="94902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96537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552449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所在板块</a:t>
                      </a:r>
                      <a:r>
                        <a:rPr lang="en-US" altLang="zh-CN" sz="1400" b="0" i="0" u="none" strike="noStrike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区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758" marR="5758" marT="57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8016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重点发展区域，高铁经济圈快速发展，为区域带来历史性高潮，交通、 教育、医疗配套逐步完 善，本地开发商为主隆基泰深耕区域多年，主流房价在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000-12000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㎡，捆绑车位实现溢价。</a:t>
                      </a:r>
                    </a:p>
                  </a:txBody>
                  <a:tcPr marL="108000" marR="5758" marT="57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155384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zh-CN" altLang="en-US" sz="1400" b="0" i="0" u="none" strike="noStrike" kern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边板块</a:t>
                      </a:r>
                      <a:endParaRPr lang="en-US" altLang="zh-CN" sz="1400" b="0" i="0" u="none" strike="noStrike" kern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zh-CN" altLang="en-US" sz="1400" b="0" i="0" u="none" strike="noStrike" kern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双桥</a:t>
                      </a:r>
                      <a:endParaRPr lang="en-US" altLang="zh-CN" sz="1400" b="1" i="0" u="none" strike="noStrike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758" marR="5758" marT="57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8016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发展成熟，只拆不建，配套齐全，土地资源稀缺，供应匮乏，项目稀缺在售项目价格在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000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㎡左右，品牌开发商金辉已进驻，项目待售状态</a:t>
                      </a:r>
                    </a:p>
                  </a:txBody>
                  <a:tcPr marL="108000" marR="5758" marT="57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899243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zh-CN" altLang="en-US" sz="1400" b="0" i="0" u="none" strike="noStrike" kern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边板块双栾区</a:t>
                      </a:r>
                      <a:endParaRPr lang="en-US" altLang="zh-CN" sz="1400" b="1" i="0" u="none" strike="noStrike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758" marR="5758" marT="57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8016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业区向生活区转变，近几年发展较 快，区域无高端项目， 潜在供应大，低价走量，本地开发商为主，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7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碧桂园进驻，主流价格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000-8000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㎡。</a:t>
                      </a:r>
                    </a:p>
                  </a:txBody>
                  <a:tcPr marL="108000" marR="5758" marT="57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3" name="矩形 12">
            <a:extLst>
              <a:ext uri="{FF2B5EF4-FFF2-40B4-BE49-F238E27FC236}">
                <a16:creationId xmlns="" xmlns:a16="http://schemas.microsoft.com/office/drawing/2014/main" id="{EAE90868-618F-4FE2-A592-FA0AFA694C75}"/>
              </a:ext>
            </a:extLst>
          </p:cNvPr>
          <p:cNvSpPr/>
          <p:nvPr/>
        </p:nvSpPr>
        <p:spPr>
          <a:xfrm>
            <a:off x="328618" y="358130"/>
            <a:ext cx="4848066" cy="523208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r>
              <a:rPr lang="zh-CN" altLang="en-US" sz="28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项目所在板块市场地位</a:t>
            </a:r>
            <a:endParaRPr lang="zh-CN" altLang="en-US" sz="2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TextBox 1">
            <a:extLst>
              <a:ext uri="{FF2B5EF4-FFF2-40B4-BE49-F238E27FC236}">
                <a16:creationId xmlns="" xmlns:a16="http://schemas.microsoft.com/office/drawing/2014/main" id="{D8CFF1D1-BD85-4259-84CE-505B077B1A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4842" y="1394435"/>
            <a:ext cx="11967787" cy="66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45714">
            <a:spAutoFit/>
          </a:bodyPr>
          <a:lstStyle>
            <a:lvl1pPr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1pPr>
            <a:lvl2pPr marL="742950" indent="-28575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2pPr>
            <a:lvl3pPr marL="11430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3pPr>
            <a:lvl4pPr marL="16002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4pPr>
            <a:lvl5pPr marL="20574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9pPr>
          </a:lstStyle>
          <a:p>
            <a:pPr eaLnBrk="1" hangingPunct="1"/>
            <a:r>
              <a:rPr lang="zh-CN" altLang="en-US" sz="2000" b="1" dirty="0">
                <a:latin typeface="微软雅黑" pitchFamily="34" charset="-122"/>
                <a:ea typeface="微软雅黑" pitchFamily="34" charset="-122"/>
              </a:rPr>
              <a:t>城市发展方向，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重点发展区域，高铁经济圈快速发展，为区域带来历史性高潮，主流房价在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1000-12000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㎡，捆绑车位实现溢价。</a:t>
            </a:r>
            <a:endParaRPr lang="en-US" altLang="zh-CN" sz="2000" b="1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73278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矩形 20"/>
          <p:cNvSpPr/>
          <p:nvPr/>
        </p:nvSpPr>
        <p:spPr>
          <a:xfrm>
            <a:off x="328618" y="358130"/>
            <a:ext cx="4794925" cy="523208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r>
              <a:rPr lang="zh-CN" altLang="en-US" sz="28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住宅竞品市场</a:t>
            </a:r>
            <a:r>
              <a:rPr lang="en-US" altLang="zh-CN" sz="28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—</a:t>
            </a:r>
            <a:r>
              <a:rPr lang="zh-CN" altLang="en-US" sz="28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板块内库存</a:t>
            </a:r>
            <a:endParaRPr lang="zh-CN" altLang="en-US" sz="2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TextBox 1"/>
          <p:cNvSpPr txBox="1">
            <a:spLocks noChangeArrowheads="1"/>
          </p:cNvSpPr>
          <p:nvPr/>
        </p:nvSpPr>
        <p:spPr bwMode="auto">
          <a:xfrm>
            <a:off x="354842" y="1394435"/>
            <a:ext cx="12225085" cy="26622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45714">
            <a:spAutoFit/>
          </a:bodyPr>
          <a:lstStyle>
            <a:lvl1pPr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1pPr>
            <a:lvl2pPr marL="742950" indent="-28575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2pPr>
            <a:lvl3pPr marL="11430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3pPr>
            <a:lvl4pPr marL="16002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4pPr>
            <a:lvl5pPr marL="20574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金佰汇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·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号公馆和铂悦澜山尾盘大面积在售，金佰汇库存产品为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50/185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大面积产品，铂悦澜山库存主要为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20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户型，价格由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800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绑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3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车位，上调至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 10455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元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/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㎡绑定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3.5-4.5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万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/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个车位，客户接受度差导致流速下降，</a:t>
            </a:r>
            <a:r>
              <a:rPr lang="zh-CN" altLang="en-US" sz="2000" b="1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君御府五一首开</a:t>
            </a:r>
            <a:r>
              <a:rPr lang="en-US" altLang="zh-CN" sz="2000" b="1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92</a:t>
            </a:r>
            <a:r>
              <a:rPr lang="zh-CN" altLang="en-US" sz="2000" b="1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套房源去化</a:t>
            </a:r>
            <a:r>
              <a:rPr lang="zh-CN" altLang="en-US" sz="2000" b="1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率</a:t>
            </a:r>
            <a:r>
              <a:rPr lang="en-US" altLang="zh-CN" sz="2000" b="1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15</a:t>
            </a:r>
            <a:r>
              <a:rPr lang="en-US" altLang="zh-CN" sz="2000" b="1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%</a:t>
            </a:r>
            <a:r>
              <a:rPr lang="zh-CN" altLang="en-US" sz="2000" b="1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，区域缺乏功能性小面积产品，分流竞品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润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新城和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碧桂园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·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江山赋未绑车位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（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 6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月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日碧桂园加推未绑车位销售）销售情况明显好于直接竞品项目。</a:t>
            </a:r>
          </a:p>
          <a:p>
            <a:pPr eaLnBrk="1" hangingPunct="1"/>
            <a:endParaRPr lang="zh-CN" altLang="en-US" sz="200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  <a:p>
            <a:pPr eaLnBrk="1" hangingPunct="1">
              <a:lnSpc>
                <a:spcPct val="15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9" name="表格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5531320"/>
              </p:ext>
            </p:extLst>
          </p:nvPr>
        </p:nvGraphicFramePr>
        <p:xfrm>
          <a:off x="6433857" y="3408123"/>
          <a:ext cx="5772589" cy="5724880"/>
        </p:xfrm>
        <a:graphic>
          <a:graphicData uri="http://schemas.openxmlformats.org/drawingml/2006/table">
            <a:tbl>
              <a:tblPr firstRow="1" bandRow="1"/>
              <a:tblGrid>
                <a:gridCol w="69093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1074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7294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5187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173045">
                  <a:extLst>
                    <a:ext uri="{9D8B030D-6E8A-4147-A177-3AD203B41FA5}">
                      <a16:colId xmlns="" xmlns:a16="http://schemas.microsoft.com/office/drawing/2014/main" val="3088406598"/>
                    </a:ext>
                  </a:extLst>
                </a:gridCol>
                <a:gridCol w="117304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560833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b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类型</a:t>
                      </a:r>
                    </a:p>
                  </a:txBody>
                  <a:tcPr marL="5963" marR="5963" marT="5963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 fontAlgn="b"/>
                      <a:r>
                        <a:rPr lang="zh-CN" altLang="en-US" sz="1400" b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名称</a:t>
                      </a:r>
                    </a:p>
                  </a:txBody>
                  <a:tcPr marL="5963" marR="5963" marT="5963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存量</a:t>
                      </a:r>
                      <a:endParaRPr lang="en-US" altLang="zh-CN" sz="1400" b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+mn-ea"/>
                      </a:endParaRPr>
                    </a:p>
                    <a:p>
                      <a:pPr algn="ctr" fontAlgn="b">
                        <a:buNone/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（万㎡）</a:t>
                      </a:r>
                    </a:p>
                  </a:txBody>
                  <a:tcPr marL="5963" marR="5963" marT="5963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zh-CN" altLang="en-US" sz="1400" b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潜在存量</a:t>
                      </a:r>
                      <a:endParaRPr lang="en-US" altLang="zh-CN" sz="1400" b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+mn-ea"/>
                      </a:endParaRPr>
                    </a:p>
                    <a:p>
                      <a:pPr algn="ctr" fontAlgn="b">
                        <a:buNone/>
                      </a:pPr>
                      <a:r>
                        <a:rPr lang="zh-CN" altLang="en-US" sz="1400" b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（万㎡）</a:t>
                      </a:r>
                    </a:p>
                  </a:txBody>
                  <a:tcPr marL="5963" marR="5963" marT="5963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zh-CN" altLang="en-US" sz="1400" b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销售额</a:t>
                      </a:r>
                      <a:endParaRPr lang="en-US" altLang="zh-CN" sz="1400" b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+mn-ea"/>
                      </a:endParaRPr>
                    </a:p>
                    <a:p>
                      <a:pPr algn="ctr" fontAlgn="b">
                        <a:buNone/>
                      </a:pPr>
                      <a:r>
                        <a:rPr lang="zh-CN" altLang="en-US" sz="1400" b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（</a:t>
                      </a:r>
                      <a:r>
                        <a:rPr lang="en-US" altLang="zh-CN" sz="1400" b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1-6</a:t>
                      </a:r>
                      <a:r>
                        <a:rPr lang="zh-CN" altLang="en-US" sz="1400" b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月）</a:t>
                      </a:r>
                    </a:p>
                  </a:txBody>
                  <a:tcPr marL="5963" marR="5963" marT="5963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zh-CN" altLang="en-US" sz="1400" b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产品</a:t>
                      </a:r>
                    </a:p>
                  </a:txBody>
                  <a:tcPr marL="5963" marR="5963" marT="5963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37721">
                <a:tc rowSpan="4"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直接</a:t>
                      </a:r>
                      <a:endParaRPr lang="en-US" altLang="zh-CN" sz="140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竞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品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金佰汇</a:t>
                      </a: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·</a:t>
                      </a: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一号公馆</a:t>
                      </a: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23</a:t>
                      </a: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57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38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亿</a:t>
                      </a: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洋房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F9</a:t>
                      </a:r>
                      <a:endParaRPr lang="zh-CN" alt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737721">
                <a:tc vMerge="1">
                  <a:txBody>
                    <a:bodyPr/>
                    <a:lstStyle/>
                    <a:p>
                      <a:pPr algn="l"/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君御府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.86</a:t>
                      </a: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46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</a:t>
                      </a:r>
                      <a:endParaRPr lang="zh-CN" alt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小高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F10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/>
                      </a:r>
                      <a:b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</a:b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洋房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F7</a:t>
                      </a:r>
                      <a:endParaRPr lang="zh-CN" alt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737721">
                <a:tc vMerge="1">
                  <a:txBody>
                    <a:bodyPr/>
                    <a:lstStyle/>
                    <a:p>
                      <a:pPr algn="l"/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铂悦澜山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8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8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亿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洋房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F9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2132228"/>
                  </a:ext>
                </a:extLst>
              </a:tr>
              <a:tr h="73772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凤凰豪庭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3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18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51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亿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高层</a:t>
                      </a: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F20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569332574"/>
                  </a:ext>
                </a:extLst>
              </a:tr>
              <a:tr h="73772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流</a:t>
                      </a:r>
                      <a:endParaRPr lang="en-US" altLang="zh-CN" sz="140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竞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品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和润新城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06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58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82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亿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高层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17099270"/>
                  </a:ext>
                </a:extLst>
              </a:tr>
              <a:tr h="73772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碧桂园</a:t>
                      </a: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·</a:t>
                      </a: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江山赋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.04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.94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29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亿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高层</a:t>
                      </a:r>
                      <a:endParaRPr lang="en-US" altLang="zh-CN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洋房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92741082"/>
                  </a:ext>
                </a:extLst>
              </a:tr>
              <a:tr h="737721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计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49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.53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</a:tbl>
          </a:graphicData>
        </a:graphic>
      </p:graphicFrame>
      <p:pic>
        <p:nvPicPr>
          <p:cNvPr id="3" name="图片 2">
            <a:extLst>
              <a:ext uri="{FF2B5EF4-FFF2-40B4-BE49-F238E27FC236}">
                <a16:creationId xmlns="" xmlns:a16="http://schemas.microsoft.com/office/drawing/2014/main" id="{5AA42B02-8548-45DF-A457-3015CAA9EF2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838" t="8134" r="2859"/>
          <a:stretch/>
        </p:blipFill>
        <p:spPr>
          <a:xfrm>
            <a:off x="354842" y="3408125"/>
            <a:ext cx="5949486" cy="5724878"/>
          </a:xfrm>
          <a:prstGeom prst="rect">
            <a:avLst/>
          </a:prstGeom>
        </p:spPr>
      </p:pic>
      <p:sp>
        <p:nvSpPr>
          <p:cNvPr id="5" name="星形: 五角 4">
            <a:extLst>
              <a:ext uri="{FF2B5EF4-FFF2-40B4-BE49-F238E27FC236}">
                <a16:creationId xmlns="" xmlns:a16="http://schemas.microsoft.com/office/drawing/2014/main" id="{E15A75F7-ABA2-47CA-8909-8652D7DFAA21}"/>
              </a:ext>
            </a:extLst>
          </p:cNvPr>
          <p:cNvSpPr/>
          <p:nvPr/>
        </p:nvSpPr>
        <p:spPr bwMode="auto">
          <a:xfrm>
            <a:off x="4435378" y="8333349"/>
            <a:ext cx="329784" cy="524656"/>
          </a:xfrm>
          <a:prstGeom prst="star5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="" xmlns:a16="http://schemas.microsoft.com/office/drawing/2014/main" id="{B1CBE2C0-8AC7-4A28-8F33-A3B3B0ED8A88}"/>
              </a:ext>
            </a:extLst>
          </p:cNvPr>
          <p:cNvSpPr txBox="1"/>
          <p:nvPr/>
        </p:nvSpPr>
        <p:spPr>
          <a:xfrm>
            <a:off x="4839613" y="8488673"/>
            <a:ext cx="1464715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宗地位置</a:t>
            </a:r>
          </a:p>
        </p:txBody>
      </p:sp>
    </p:spTree>
    <p:extLst>
      <p:ext uri="{BB962C8B-B14F-4D97-AF65-F5344CB8AC3E}">
        <p14:creationId xmlns:p14="http://schemas.microsoft.com/office/powerpoint/2010/main" val="3649586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矩形 20"/>
          <p:cNvSpPr/>
          <p:nvPr/>
        </p:nvSpPr>
        <p:spPr>
          <a:xfrm>
            <a:off x="328618" y="358130"/>
            <a:ext cx="6036816" cy="523208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r>
              <a:rPr lang="zh-CN" altLang="en-US" sz="28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住宅竞品市场</a:t>
            </a:r>
            <a:r>
              <a:rPr lang="en-US" altLang="zh-CN" sz="28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—</a:t>
            </a:r>
            <a:r>
              <a:rPr lang="zh-CN" altLang="en-US" sz="28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板块内竞品住宅去化</a:t>
            </a:r>
            <a:endParaRPr lang="zh-CN" altLang="en-US" sz="2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TextBox 1"/>
          <p:cNvSpPr txBox="1">
            <a:spLocks noChangeArrowheads="1"/>
          </p:cNvSpPr>
          <p:nvPr/>
        </p:nvSpPr>
        <p:spPr bwMode="auto">
          <a:xfrm>
            <a:off x="388369" y="1627582"/>
            <a:ext cx="11967787" cy="50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45714">
            <a:spAutoFit/>
          </a:bodyPr>
          <a:lstStyle>
            <a:lvl1pPr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1pPr>
            <a:lvl2pPr marL="742950" indent="-28575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2pPr>
            <a:lvl3pPr marL="11430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3pPr>
            <a:lvl4pPr marL="16002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4pPr>
            <a:lvl5pPr marL="20574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zh-CN" altLang="en-US" sz="20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竞品普遍捆绑车位溢价销售，随着市场下行，捆绑车位溢价或不可持续</a:t>
            </a:r>
            <a:r>
              <a:rPr lang="zh-CN" altLang="en-US" sz="2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。</a:t>
            </a:r>
            <a:endParaRPr lang="en-US" altLang="zh-CN" sz="20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9" name="表格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8064686"/>
              </p:ext>
            </p:extLst>
          </p:nvPr>
        </p:nvGraphicFramePr>
        <p:xfrm>
          <a:off x="6276110" y="2874618"/>
          <a:ext cx="6258790" cy="5487910"/>
        </p:xfrm>
        <a:graphic>
          <a:graphicData uri="http://schemas.openxmlformats.org/drawingml/2006/table">
            <a:tbl>
              <a:tblPr firstRow="1" bandRow="1"/>
              <a:tblGrid>
                <a:gridCol w="127261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0344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50183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36175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577845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841303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</a:tblGrid>
              <a:tr h="61504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zh-CN" altLang="en-US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项目名称</a:t>
                      </a:r>
                    </a:p>
                  </a:txBody>
                  <a:tcPr marL="5963" marR="5963" marT="5963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zh-CN" altLang="en-US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计容建面</a:t>
                      </a:r>
                      <a:endParaRPr lang="en-US" altLang="zh-CN" sz="14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+mn-ea"/>
                      </a:endParaRPr>
                    </a:p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zh-CN" altLang="en-US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（万㎡）</a:t>
                      </a:r>
                    </a:p>
                  </a:txBody>
                  <a:tcPr marL="5963" marR="5963" marT="5963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zh-CN" altLang="en-US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容积率</a:t>
                      </a:r>
                    </a:p>
                  </a:txBody>
                  <a:tcPr marL="5963" marR="5963" marT="5963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zh-CN" altLang="en-US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产品</a:t>
                      </a:r>
                    </a:p>
                  </a:txBody>
                  <a:tcPr marL="5963" marR="5963" marT="5963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zh-CN" altLang="en-US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在售均价</a:t>
                      </a:r>
                      <a:endParaRPr lang="en-US" altLang="zh-CN" sz="14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zh-CN" altLang="en-US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万元</a:t>
                      </a:r>
                      <a:r>
                        <a:rPr lang="en-US" altLang="zh-C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lang="zh-CN" altLang="en-US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㎡）</a:t>
                      </a:r>
                    </a:p>
                  </a:txBody>
                  <a:tcPr marL="5963" marR="5963" marT="5963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zh-CN" altLang="en-US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月均去化（近</a:t>
                      </a:r>
                      <a:r>
                        <a:rPr lang="en-US" altLang="zh-C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</a:t>
                      </a:r>
                      <a:r>
                        <a:rPr lang="zh-CN" altLang="en-US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个月套）</a:t>
                      </a:r>
                      <a:endParaRPr lang="en-US" altLang="zh-CN" sz="14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5963" marR="5963" marT="5963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95578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金佰汇</a:t>
                      </a: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·</a:t>
                      </a: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一号公馆</a:t>
                      </a: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.84</a:t>
                      </a: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5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洋房</a:t>
                      </a:r>
                      <a:r>
                        <a:rPr lang="en-US" altLang="zh-CN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12/138/150/180</a:t>
                      </a:r>
                      <a:r>
                        <a:rPr lang="zh-CN" alt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㎡</a:t>
                      </a: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10841</a:t>
                      </a:r>
                      <a:r>
                        <a:rPr lang="zh-CN" alt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元</a:t>
                      </a:r>
                      <a:r>
                        <a:rPr lang="en-US" altLang="zh-CN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/</a:t>
                      </a:r>
                      <a:r>
                        <a:rPr lang="zh-CN" alt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㎡，</a:t>
                      </a:r>
                      <a:endParaRPr lang="en-US" altLang="zh-CN" sz="12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+mn-ea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绑定车位</a:t>
                      </a:r>
                      <a:r>
                        <a:rPr lang="en-US" altLang="zh-CN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13-16</a:t>
                      </a:r>
                      <a:r>
                        <a:rPr lang="zh-CN" alt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万元</a:t>
                      </a:r>
                      <a:r>
                        <a:rPr lang="en-US" altLang="zh-CN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/</a:t>
                      </a:r>
                      <a:r>
                        <a:rPr lang="zh-CN" alt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个</a:t>
                      </a:r>
                      <a:endParaRPr lang="zh-CN" altLang="en-US" sz="12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</a:t>
                      </a:r>
                      <a:endParaRPr lang="zh-CN" altLang="en-US" sz="14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01412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君御府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.6</a:t>
                      </a: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3</a:t>
                      </a:r>
                      <a:endParaRPr lang="zh-CN" altLang="en-US" sz="14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洋房小高</a:t>
                      </a:r>
                      <a:r>
                        <a:rPr lang="en-US" altLang="zh-CN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29/146/184/267</a:t>
                      </a:r>
                      <a:r>
                        <a:rPr lang="zh-CN" alt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㎡</a:t>
                      </a: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11300-12</a:t>
                      </a:r>
                      <a:r>
                        <a:rPr lang="en-US" altLang="zh-CN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4</a:t>
                      </a:r>
                      <a:r>
                        <a:rPr lang="zh-CN" alt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00元/平米，绑定地下室</a:t>
                      </a:r>
                      <a:r>
                        <a:rPr lang="en-US" altLang="zh-CN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6</a:t>
                      </a:r>
                      <a:r>
                        <a:rPr lang="zh-CN" alt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万或车位18万</a:t>
                      </a:r>
                      <a:r>
                        <a:rPr lang="en-US" altLang="zh-CN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/</a:t>
                      </a:r>
                      <a:r>
                        <a:rPr lang="zh-CN" alt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+mn-ea"/>
                        </a:rPr>
                        <a:t>个</a:t>
                      </a:r>
                      <a:endParaRPr lang="zh-CN" altLang="en-US" sz="12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</a:t>
                      </a:r>
                      <a:endParaRPr lang="zh-CN" altLang="en-US" sz="14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913536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铂悦澜山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5</a:t>
                      </a: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4</a:t>
                      </a:r>
                      <a:endParaRPr lang="zh-CN" altLang="en-US" sz="14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洋房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95/102/120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㎡</a:t>
                      </a:r>
                      <a:endParaRPr lang="zh-CN" altLang="en-US" sz="12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10455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元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/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㎡，绑定车位价格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3.5-4.5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万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/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个</a:t>
                      </a:r>
                      <a:endParaRPr lang="zh-CN" altLang="en-US" sz="12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5</a:t>
                      </a:r>
                      <a:endParaRPr lang="zh-CN" altLang="en-US" sz="14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58058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凤凰豪庭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5.64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4</a:t>
                      </a:r>
                      <a:endParaRPr lang="zh-CN" altLang="en-US" sz="14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高层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122/131/140/170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㎡</a:t>
                      </a:r>
                      <a:endParaRPr lang="zh-CN" altLang="en-US" sz="12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11318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元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/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㎡，绑定</a:t>
                      </a:r>
                      <a:r>
                        <a:rPr lang="zh-CN" altLang="en-US" sz="1200" b="0" kern="120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车位</a:t>
                      </a:r>
                      <a:r>
                        <a:rPr lang="en-US" altLang="zh-CN" sz="1200" b="0" kern="120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29.8</a:t>
                      </a:r>
                      <a:r>
                        <a:rPr lang="zh-CN" altLang="en-US" sz="1200" b="0" kern="120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万元</a:t>
                      </a:r>
                      <a:r>
                        <a:rPr lang="en-US" altLang="zh-CN" sz="1200" b="0" kern="120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/</a:t>
                      </a:r>
                      <a:r>
                        <a:rPr lang="zh-CN" altLang="en-US" sz="1200" b="0" kern="120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个</a:t>
                      </a:r>
                      <a:endParaRPr lang="zh-CN" altLang="en-US" sz="12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altLang="zh-C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</a:t>
                      </a:r>
                      <a:endParaRPr lang="zh-CN" altLang="en-US" sz="14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7690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和润新城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2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39</a:t>
                      </a:r>
                      <a:endParaRPr lang="zh-CN" altLang="en-US" sz="14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高层</a:t>
                      </a:r>
                      <a:r>
                        <a:rPr lang="en-US" altLang="zh-CN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15/123/145/158/162/230</a:t>
                      </a:r>
                    </a:p>
                    <a:p>
                      <a:pPr marL="0" algn="ctr" defTabSz="914400" rtl="0" eaLnBrk="1" fontAlgn="b" latinLnBrk="0" hangingPunct="1"/>
                      <a:endParaRPr lang="zh-CN" altLang="en-US" sz="12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1200" b="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10600</a:t>
                      </a:r>
                      <a:r>
                        <a:rPr lang="zh-CN" altLang="en-US" sz="1200" b="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元</a:t>
                      </a: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/</a:t>
                      </a:r>
                      <a:r>
                        <a:rPr lang="zh-CN" altLang="en-US" sz="1200" b="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㎡不绑车位</a:t>
                      </a:r>
                      <a:endParaRPr lang="en-US" altLang="en-US" sz="1200" b="0" dirty="0">
                        <a:solidFill>
                          <a:srgbClr val="000000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  <a:p>
                      <a:pPr marL="0" algn="ctr" defTabSz="914400" rtl="0" eaLnBrk="1" fontAlgn="b" latinLnBrk="0" hangingPunct="1"/>
                      <a:endParaRPr lang="zh-CN" altLang="en-US" sz="12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altLang="zh-C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5</a:t>
                      </a:r>
                      <a:endParaRPr lang="zh-CN" altLang="en-US" sz="14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12822931"/>
                  </a:ext>
                </a:extLst>
              </a:tr>
              <a:tr h="769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碧桂园</a:t>
                      </a: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·</a:t>
                      </a: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江山赋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3.4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2</a:t>
                      </a:r>
                      <a:endParaRPr lang="zh-CN" altLang="en-US" sz="14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中高层</a:t>
                      </a:r>
                      <a:endParaRPr lang="en-US" altLang="zh-CN" sz="12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en-US" altLang="zh-CN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5/125/140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洋房</a:t>
                      </a:r>
                      <a:endParaRPr lang="en-US" altLang="zh-CN" sz="12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en-US" altLang="zh-CN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25/140</a:t>
                      </a:r>
                      <a:endParaRPr lang="zh-CN" altLang="en-US" sz="12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729" marR="3729" marT="3729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中高层</a:t>
                      </a:r>
                      <a:r>
                        <a:rPr lang="en-US" altLang="zh-CN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9300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洋房</a:t>
                      </a:r>
                      <a:r>
                        <a:rPr lang="en-US" altLang="zh-CN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700</a:t>
                      </a:r>
                      <a:r>
                        <a:rPr lang="zh-CN" altLang="en-US" sz="1200" b="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不绑车位</a:t>
                      </a:r>
                      <a:endParaRPr lang="en-US" altLang="zh-CN" sz="12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4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0</a:t>
                      </a:r>
                      <a:endParaRPr lang="zh-CN" altLang="en-US" sz="1400" b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96723689"/>
                  </a:ext>
                </a:extLst>
              </a:tr>
            </a:tbl>
          </a:graphicData>
        </a:graphic>
      </p:graphicFrame>
      <p:pic>
        <p:nvPicPr>
          <p:cNvPr id="3" name="图片 2">
            <a:extLst>
              <a:ext uri="{FF2B5EF4-FFF2-40B4-BE49-F238E27FC236}">
                <a16:creationId xmlns="" xmlns:a16="http://schemas.microsoft.com/office/drawing/2014/main" id="{7E46CF21-5256-47D2-8472-6F0512E1F7C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838" t="8134" r="2859"/>
          <a:stretch/>
        </p:blipFill>
        <p:spPr>
          <a:xfrm>
            <a:off x="328618" y="2881651"/>
            <a:ext cx="5949486" cy="5724878"/>
          </a:xfrm>
          <a:prstGeom prst="rect">
            <a:avLst/>
          </a:prstGeom>
        </p:spPr>
      </p:pic>
      <p:sp>
        <p:nvSpPr>
          <p:cNvPr id="5" name="星形: 五角 4">
            <a:extLst>
              <a:ext uri="{FF2B5EF4-FFF2-40B4-BE49-F238E27FC236}">
                <a16:creationId xmlns="" xmlns:a16="http://schemas.microsoft.com/office/drawing/2014/main" id="{E950A287-9992-4E0D-A203-F4D8564B48A7}"/>
              </a:ext>
            </a:extLst>
          </p:cNvPr>
          <p:cNvSpPr/>
          <p:nvPr/>
        </p:nvSpPr>
        <p:spPr bwMode="auto">
          <a:xfrm>
            <a:off x="4409154" y="7806875"/>
            <a:ext cx="329784" cy="524656"/>
          </a:xfrm>
          <a:prstGeom prst="star5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="" xmlns:a16="http://schemas.microsoft.com/office/drawing/2014/main" id="{B1CBE2C0-8AC7-4A28-8F33-A3B3B0ED8A88}"/>
              </a:ext>
            </a:extLst>
          </p:cNvPr>
          <p:cNvSpPr txBox="1"/>
          <p:nvPr/>
        </p:nvSpPr>
        <p:spPr>
          <a:xfrm>
            <a:off x="4813389" y="7962199"/>
            <a:ext cx="1464715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宗地位置</a:t>
            </a:r>
          </a:p>
        </p:txBody>
      </p:sp>
    </p:spTree>
    <p:extLst>
      <p:ext uri="{BB962C8B-B14F-4D97-AF65-F5344CB8AC3E}">
        <p14:creationId xmlns:p14="http://schemas.microsoft.com/office/powerpoint/2010/main" val="861269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表格 6">
            <a:extLst>
              <a:ext uri="{FF2B5EF4-FFF2-40B4-BE49-F238E27FC236}">
                <a16:creationId xmlns="" xmlns:a16="http://schemas.microsoft.com/office/drawing/2014/main" id="{0F544B7F-2702-644C-A0E8-5EDA14B6531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2309448"/>
              </p:ext>
            </p:extLst>
          </p:nvPr>
        </p:nvGraphicFramePr>
        <p:xfrm>
          <a:off x="328618" y="2168103"/>
          <a:ext cx="11756978" cy="66103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62853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12843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整体市场</a:t>
                      </a:r>
                    </a:p>
                  </a:txBody>
                  <a:tcPr marL="67506" marR="67506" marT="41544" marB="41544" anchor="ctr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承德市场恢复迅速，</a:t>
                      </a:r>
                      <a:r>
                        <a:rPr lang="en-US" altLang="zh-CN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</a:t>
                      </a: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月量价齐升，整体成交</a:t>
                      </a:r>
                      <a:r>
                        <a:rPr lang="en-US" altLang="zh-CN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.7</a:t>
                      </a: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㎡，环比上涨</a:t>
                      </a:r>
                      <a:r>
                        <a:rPr lang="en-US" altLang="zh-CN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8%</a:t>
                      </a: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，同比上涨</a:t>
                      </a:r>
                      <a:r>
                        <a:rPr lang="en-US" altLang="zh-CN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7%</a:t>
                      </a: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，价格</a:t>
                      </a:r>
                      <a:r>
                        <a:rPr lang="en-US" altLang="zh-CN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651</a:t>
                      </a: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</a:t>
                      </a:r>
                      <a:r>
                        <a:rPr lang="en-US" altLang="zh-CN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/</a:t>
                      </a: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㎡，环比上涨</a:t>
                      </a:r>
                      <a:r>
                        <a:rPr lang="en-US" altLang="zh-CN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%</a:t>
                      </a: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，同比上涨</a:t>
                      </a:r>
                      <a:r>
                        <a:rPr lang="en-US" altLang="zh-CN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4%</a:t>
                      </a: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；</a:t>
                      </a:r>
                      <a:endParaRPr lang="zh-CN" altLang="zh-CN" sz="1600" b="0" i="0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7506" marR="67506" marT="41544" marB="415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>
                      <a:lvl1pPr marL="342900" lvl="0" indent="-3429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742950" lvl="1" indent="-28575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24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43000" lvl="2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00200" lvl="3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57400" lvl="4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»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</a:lstStyle>
                    <a:p>
                      <a:pPr marL="0" lvl="0" indent="0" algn="ctr">
                        <a:lnSpc>
                          <a:spcPct val="150000"/>
                        </a:lnSpc>
                        <a:buNone/>
                      </a:pPr>
                      <a:r>
                        <a:rPr lang="zh-Hans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区域市场</a:t>
                      </a:r>
                      <a:endParaRPr lang="zh-CN" altLang="en-US" sz="1600" b="0" i="0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7506" marR="67506" marT="41544" marB="41544" anchor="ctr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342900" lvl="0" indent="-3429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742950" lvl="1" indent="-28575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24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43000" lvl="2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00200" lvl="3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57400" lvl="4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»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</a:lstStyle>
                    <a:p>
                      <a:pPr marL="0" lvl="0" indent="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开发区</a:t>
                      </a:r>
                      <a:r>
                        <a:rPr lang="en-US" altLang="zh-CN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</a:t>
                      </a: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月成交均价</a:t>
                      </a:r>
                      <a:r>
                        <a:rPr lang="en-US" altLang="zh-CN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1173</a:t>
                      </a: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</a:t>
                      </a:r>
                      <a:r>
                        <a:rPr lang="en-US" altLang="zh-CN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/</a:t>
                      </a: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㎡，限价影响价格稳定无涨幅，年后成交面积持续上涨</a:t>
                      </a:r>
                      <a:r>
                        <a:rPr lang="en-US" altLang="zh-CN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</a:t>
                      </a: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月达</a:t>
                      </a:r>
                      <a:r>
                        <a:rPr lang="en-US" altLang="zh-CN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3</a:t>
                      </a: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㎡，较上月上涨</a:t>
                      </a:r>
                      <a:r>
                        <a:rPr lang="en-US" altLang="zh-CN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4%</a:t>
                      </a: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；</a:t>
                      </a:r>
                      <a:endParaRPr lang="zh-CN" altLang="zh-CN" sz="1600" b="0" i="0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7506" marR="67506" marT="41544" marB="415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>
                      <a:lvl1pPr marL="342900" lvl="0" indent="-3429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742950" lvl="1" indent="-28575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24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43000" lvl="2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00200" lvl="3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57400" lvl="4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»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</a:lstStyle>
                    <a:p>
                      <a:pPr marL="0" lvl="0" indent="0" algn="ctr">
                        <a:lnSpc>
                          <a:spcPct val="150000"/>
                        </a:lnSpc>
                        <a:buNone/>
                      </a:pPr>
                      <a:r>
                        <a:rPr lang="zh-Hans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库存情况</a:t>
                      </a:r>
                      <a:endParaRPr lang="zh-CN" altLang="en-US" sz="1600" b="0" i="0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7506" marR="67506" marT="41544" marB="41544" anchor="ctr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342900" lvl="0" indent="-3429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742950" lvl="1" indent="-28575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24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43000" lvl="2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00200" lvl="3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57400" lvl="4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»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</a:lstStyle>
                    <a:p>
                      <a:pPr marL="0" lvl="0" indent="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区域竞品在售存量</a:t>
                      </a:r>
                      <a:r>
                        <a:rPr lang="en-US" altLang="zh-CN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49</a:t>
                      </a: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㎡，未推存量</a:t>
                      </a:r>
                      <a:r>
                        <a:rPr lang="en-US" altLang="zh-CN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5.53</a:t>
                      </a: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㎡，由于流速一般，总去化周期在</a:t>
                      </a:r>
                      <a:r>
                        <a:rPr lang="en-US" altLang="zh-CN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5</a:t>
                      </a: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个月左右；</a:t>
                      </a:r>
                    </a:p>
                  </a:txBody>
                  <a:tcPr marL="67506" marR="67506" marT="41544" marB="415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20000">
                <a:tc>
                  <a:txBody>
                    <a:bodyPr/>
                    <a:lstStyle>
                      <a:lvl1pPr marL="342900" lvl="0" indent="-3429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742950" lvl="1" indent="-28575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24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43000" lvl="2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00200" lvl="3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57400" lvl="4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»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</a:lstStyle>
                    <a:p>
                      <a:pPr marL="0" lvl="0" indent="0" algn="ctr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竞品</a:t>
                      </a:r>
                      <a:r>
                        <a:rPr lang="zh-Hans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价格</a:t>
                      </a:r>
                      <a:endParaRPr lang="zh-CN" altLang="en-US" sz="1600" b="0" i="0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7506" marR="67506" marT="41544" marB="41544" anchor="ctr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342900" lvl="0" indent="-3429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742950" lvl="1" indent="-28575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24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43000" lvl="2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00200" lvl="3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57400" lvl="4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»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</a:lstStyle>
                    <a:p>
                      <a:pPr marL="0" lvl="0" indent="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金佰汇</a:t>
                      </a: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·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一号公馆（</a:t>
                      </a: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3.9km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）成交均价</a:t>
                      </a: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10841</a:t>
                      </a:r>
                      <a:r>
                        <a:rPr lang="zh-CN" altLang="en-US" sz="1600" b="0" dirty="0"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元</a:t>
                      </a:r>
                      <a:r>
                        <a:rPr lang="en-US" altLang="zh-CN" sz="1600" b="0" dirty="0"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/</a:t>
                      </a:r>
                      <a:r>
                        <a:rPr lang="zh-CN" altLang="en-US" sz="1600" b="0" dirty="0"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㎡，绑定车位</a:t>
                      </a:r>
                      <a:r>
                        <a:rPr lang="en-US" altLang="zh-CN" sz="1600" b="0" dirty="0"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13-16</a:t>
                      </a:r>
                      <a:r>
                        <a:rPr lang="zh-CN" altLang="en-US" sz="1600" b="0" dirty="0"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万元</a:t>
                      </a:r>
                      <a:r>
                        <a:rPr lang="en-US" altLang="zh-CN" sz="1600" b="0" dirty="0"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/</a:t>
                      </a:r>
                      <a:r>
                        <a:rPr lang="zh-CN" altLang="en-US" sz="1600" b="0" dirty="0"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个</a:t>
                      </a:r>
                      <a:r>
                        <a:rPr lang="zh-CN" altLang="en-US" sz="1600" b="0" i="0" u="none" strike="noStrike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；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君御府（</a:t>
                      </a: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3.6km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）</a:t>
                      </a:r>
                      <a:r>
                        <a:rPr lang="zh-CN" altLang="en-US" sz="1600" b="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成交均价11300-12</a:t>
                      </a:r>
                      <a:r>
                        <a:rPr lang="en-US" altLang="zh-CN" sz="1600" b="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4</a:t>
                      </a:r>
                      <a:r>
                        <a:rPr lang="zh-CN" altLang="en-US" sz="1600" b="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00元/平米，绑定地下室</a:t>
                      </a:r>
                      <a:r>
                        <a:rPr lang="en-US" altLang="zh-CN" sz="1600" b="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6</a:t>
                      </a:r>
                      <a:r>
                        <a:rPr lang="zh-CN" altLang="en-US" sz="1600" b="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万或车位18万</a:t>
                      </a:r>
                      <a:r>
                        <a:rPr lang="en-US" altLang="zh-CN" sz="1600" b="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/</a:t>
                      </a:r>
                      <a:r>
                        <a:rPr lang="zh-CN" altLang="en-US" sz="1600" b="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个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；铂悦澜山（</a:t>
                      </a: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2.5km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）成交均价</a:t>
                      </a: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10455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元</a:t>
                      </a: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/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㎡，绑定车位价格</a:t>
                      </a: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3.5-4.5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万</a:t>
                      </a: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/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个；</a:t>
                      </a:r>
                      <a:r>
                        <a:rPr lang="zh-CN" altLang="en-US" sz="1600" b="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凤凰豪庭（</a:t>
                      </a:r>
                      <a:r>
                        <a:rPr lang="en-US" altLang="zh-CN" sz="1600" b="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4.8km</a:t>
                      </a:r>
                      <a:r>
                        <a:rPr lang="zh-CN" altLang="en-US" sz="1600" b="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）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成交均价</a:t>
                      </a: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11318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元</a:t>
                      </a: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/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㎡，绑定</a:t>
                      </a:r>
                      <a:r>
                        <a:rPr lang="zh-CN" altLang="en-US" sz="1600" b="0" kern="120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车位</a:t>
                      </a:r>
                      <a:r>
                        <a:rPr lang="en-US" altLang="zh-CN" sz="1600" b="0" kern="120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29.8</a:t>
                      </a:r>
                      <a:r>
                        <a:rPr lang="zh-CN" altLang="en-US" sz="1600" b="0" kern="120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万元</a:t>
                      </a:r>
                      <a:r>
                        <a:rPr lang="en-US" altLang="zh-CN" sz="1600" b="0" kern="120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/</a:t>
                      </a:r>
                      <a:r>
                        <a:rPr lang="zh-CN" altLang="en-US" sz="1600" b="0" kern="120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个，</a:t>
                      </a: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受疫情影响流速下降，区域外部分项目取消车位绑定销售；</a:t>
                      </a:r>
                      <a:endParaRPr lang="en-US" altLang="zh-CN" sz="1600" b="0" i="0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7506" marR="67506" marT="41544" marB="415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720000">
                <a:tc>
                  <a:txBody>
                    <a:bodyPr/>
                    <a:lstStyle>
                      <a:lvl1pPr marL="342900" lvl="0" indent="-3429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742950" lvl="1" indent="-28575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24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43000" lvl="2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00200" lvl="3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57400" lvl="4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»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</a:lstStyle>
                    <a:p>
                      <a:pPr marL="0" lvl="0" indent="0" algn="ctr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竞品产品</a:t>
                      </a:r>
                    </a:p>
                  </a:txBody>
                  <a:tcPr marL="67506" marR="67506" marT="41544" marB="41544" anchor="ctr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342900" lvl="0" indent="-3429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742950" lvl="1" indent="-28575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24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43000" lvl="2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00200" lvl="3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57400" lvl="4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»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区域偏改善户型，金佰汇</a:t>
                      </a: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·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一号公馆</a:t>
                      </a: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9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层洋房户型面积</a:t>
                      </a: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112/138/150/180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㎡</a:t>
                      </a: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;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君御府</a:t>
                      </a: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7-10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层洋房户型面积</a:t>
                      </a: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129/146/184/267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㎡</a:t>
                      </a: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;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铂悦澜山</a:t>
                      </a:r>
                      <a:r>
                        <a:rPr lang="en-US" altLang="zh-CN" sz="1600" b="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9</a:t>
                      </a:r>
                      <a:r>
                        <a:rPr lang="zh-CN" altLang="en-US" sz="1600" b="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层洋房户型面积</a:t>
                      </a:r>
                      <a:r>
                        <a:rPr lang="en-US" altLang="zh-CN" sz="1600" b="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95/</a:t>
                      </a: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102/120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㎡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；</a:t>
                      </a:r>
                      <a:r>
                        <a:rPr lang="zh-CN" altLang="en-US" sz="1600" b="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凤凰豪庭</a:t>
                      </a:r>
                      <a:r>
                        <a:rPr lang="en-US" altLang="zh-CN" sz="1600" b="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20</a:t>
                      </a:r>
                      <a:r>
                        <a:rPr lang="zh-CN" altLang="en-US" sz="1600" b="0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层高层户型面积</a:t>
                      </a: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122/131/140/170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㎡；</a:t>
                      </a:r>
                      <a:endParaRPr lang="en-US" altLang="zh-CN" sz="1600" b="0" i="0" u="none" strike="noStrike" dirty="0">
                        <a:solidFill>
                          <a:srgbClr val="000000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67506" marR="67506" marT="41544" marB="415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720000">
                <a:tc>
                  <a:txBody>
                    <a:bodyPr/>
                    <a:lstStyle>
                      <a:lvl1pPr marL="342900" lvl="0" indent="-3429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742950" lvl="1" indent="-28575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24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43000" lvl="2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00200" lvl="3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57400" lvl="4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»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</a:lstStyle>
                    <a:p>
                      <a:pPr marL="0" lvl="0" indent="0" algn="ctr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竞品</a:t>
                      </a:r>
                      <a:r>
                        <a:rPr lang="zh-Hans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去化</a:t>
                      </a:r>
                      <a:endParaRPr lang="zh-CN" altLang="en-US" sz="1600" b="0" i="0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7506" marR="67506" marT="41544" marB="41544" anchor="ctr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342900" lvl="0" indent="-3429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742950" lvl="1" indent="-28575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24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43000" lvl="2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00200" lvl="3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57400" lvl="4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»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</a:lstStyle>
                    <a:p>
                      <a:pPr marL="0" lvl="0" indent="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竞品面积普遍偏大，流速一般，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金佰汇</a:t>
                      </a: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·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一号公馆只剩大面积尾盘在售</a:t>
                      </a: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20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套</a:t>
                      </a: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/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月；君御府五一首开</a:t>
                      </a: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92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套房源去化率只有</a:t>
                      </a: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15%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，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铂悦澜山月均</a:t>
                      </a: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15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套</a:t>
                      </a: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/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Arial" panose="020B0604020202020204" pitchFamily="34" charset="0"/>
                          <a:sym typeface="+mn-ea"/>
                        </a:rPr>
                        <a:t>月；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凤凰豪庭</a:t>
                      </a: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8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套</a:t>
                      </a: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/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月；</a:t>
                      </a:r>
                      <a:endParaRPr lang="en-US" altLang="zh-CN" sz="1600" b="0" i="0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7506" marR="67506" marT="41544" marB="415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720000">
                <a:tc>
                  <a:txBody>
                    <a:bodyPr/>
                    <a:lstStyle>
                      <a:lvl1pPr marL="342900" lvl="0" indent="-3429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742950" lvl="1" indent="-28575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24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43000" lvl="2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00200" lvl="3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57400" lvl="4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»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</a:lstStyle>
                    <a:p>
                      <a:pPr marL="0" lvl="0" indent="0" algn="ctr">
                        <a:lnSpc>
                          <a:spcPct val="150000"/>
                        </a:lnSpc>
                        <a:buNone/>
                      </a:pPr>
                      <a:r>
                        <a:rPr lang="zh-Hans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主要客群</a:t>
                      </a:r>
                      <a:endParaRPr lang="zh-CN" altLang="en-US" sz="1600" b="0" i="0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7506" marR="67506" marT="41544" marB="41544" anchor="ctr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342900" lvl="0" indent="-3429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742950" lvl="1" indent="-28575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24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43000" lvl="2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 sz="2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00200" lvl="3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–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57400" lvl="4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»"/>
                        <a:defRPr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</a:lstStyle>
                    <a:p>
                      <a:pPr marL="0" lvl="0" indent="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600" b="0" i="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城区地缘性刚需改善客群和周边村镇刚需客</a:t>
                      </a:r>
                      <a:r>
                        <a:rPr lang="zh-CN" altLang="en-US" sz="1600" b="0" i="0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群。</a:t>
                      </a:r>
                      <a:endParaRPr lang="en-US" altLang="zh-CN" sz="1600" b="0" i="0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7506" marR="67506" marT="41544" marB="415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8" name="矩形 7"/>
          <p:cNvSpPr/>
          <p:nvPr/>
        </p:nvSpPr>
        <p:spPr>
          <a:xfrm>
            <a:off x="328618" y="358130"/>
            <a:ext cx="4435111" cy="523208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r>
              <a:rPr lang="zh-CN" altLang="en-US" sz="28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市场分析结论</a:t>
            </a:r>
            <a:endParaRPr lang="zh-CN" altLang="en-US" sz="2800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7849606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503737" y="379819"/>
            <a:ext cx="1782264" cy="525463"/>
          </a:xfrm>
        </p:spPr>
        <p:txBody>
          <a:bodyPr/>
          <a:lstStyle/>
          <a:p>
            <a:pPr eaLnBrk="1" hangingPunct="1"/>
            <a:r>
              <a:rPr lang="zh-CN" sz="3000" dirty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目  录</a:t>
            </a:r>
            <a:endParaRPr lang="zh-CN" sz="3000" dirty="0"/>
          </a:p>
        </p:txBody>
      </p:sp>
      <p:sp>
        <p:nvSpPr>
          <p:cNvPr id="28" name="矩形 27"/>
          <p:cNvSpPr/>
          <p:nvPr/>
        </p:nvSpPr>
        <p:spPr>
          <a:xfrm>
            <a:off x="2015010" y="3080165"/>
            <a:ext cx="1080120" cy="66024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、</a:t>
            </a:r>
          </a:p>
        </p:txBody>
      </p:sp>
      <p:sp>
        <p:nvSpPr>
          <p:cNvPr id="29" name="矩形 28"/>
          <p:cNvSpPr/>
          <p:nvPr/>
        </p:nvSpPr>
        <p:spPr>
          <a:xfrm>
            <a:off x="3110410" y="3081053"/>
            <a:ext cx="5445762" cy="66024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  </a:t>
            </a:r>
            <a:r>
              <a:rPr lang="zh-CN" altLang="en-US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概况</a:t>
            </a:r>
          </a:p>
        </p:txBody>
      </p:sp>
      <p:sp>
        <p:nvSpPr>
          <p:cNvPr id="38" name="矩形 37"/>
          <p:cNvSpPr/>
          <p:nvPr/>
        </p:nvSpPr>
        <p:spPr>
          <a:xfrm>
            <a:off x="2015010" y="4203573"/>
            <a:ext cx="1080120" cy="66024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、</a:t>
            </a:r>
          </a:p>
        </p:txBody>
      </p:sp>
      <p:sp>
        <p:nvSpPr>
          <p:cNvPr id="39" name="矩形 38"/>
          <p:cNvSpPr/>
          <p:nvPr/>
        </p:nvSpPr>
        <p:spPr>
          <a:xfrm>
            <a:off x="3110410" y="4204461"/>
            <a:ext cx="5445762" cy="66024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b="1" dirty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  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房地产市场</a:t>
            </a:r>
          </a:p>
        </p:txBody>
      </p:sp>
      <p:sp>
        <p:nvSpPr>
          <p:cNvPr id="40" name="矩形 39"/>
          <p:cNvSpPr/>
          <p:nvPr/>
        </p:nvSpPr>
        <p:spPr>
          <a:xfrm>
            <a:off x="2015010" y="5326093"/>
            <a:ext cx="1080120" cy="66024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、</a:t>
            </a:r>
          </a:p>
        </p:txBody>
      </p:sp>
      <p:sp>
        <p:nvSpPr>
          <p:cNvPr id="41" name="矩形 40"/>
          <p:cNvSpPr/>
          <p:nvPr/>
        </p:nvSpPr>
        <p:spPr>
          <a:xfrm>
            <a:off x="3110410" y="5326981"/>
            <a:ext cx="5445762" cy="66024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项目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测算及投资建议</a:t>
            </a:r>
          </a:p>
        </p:txBody>
      </p:sp>
    </p:spTree>
    <p:extLst>
      <p:ext uri="{BB962C8B-B14F-4D97-AF65-F5344CB8AC3E}">
        <p14:creationId xmlns:p14="http://schemas.microsoft.com/office/powerpoint/2010/main" val="2312449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503737" y="379819"/>
            <a:ext cx="1782264" cy="525463"/>
          </a:xfrm>
        </p:spPr>
        <p:txBody>
          <a:bodyPr/>
          <a:lstStyle/>
          <a:p>
            <a:pPr eaLnBrk="1" hangingPunct="1"/>
            <a:r>
              <a:rPr lang="zh-CN" sz="3000" dirty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目  录</a:t>
            </a:r>
            <a:endParaRPr lang="zh-CN" sz="3000" dirty="0"/>
          </a:p>
        </p:txBody>
      </p:sp>
      <p:sp>
        <p:nvSpPr>
          <p:cNvPr id="28" name="矩形 27"/>
          <p:cNvSpPr/>
          <p:nvPr/>
        </p:nvSpPr>
        <p:spPr>
          <a:xfrm>
            <a:off x="2015010" y="3080165"/>
            <a:ext cx="1080120" cy="66024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、</a:t>
            </a:r>
          </a:p>
        </p:txBody>
      </p:sp>
      <p:sp>
        <p:nvSpPr>
          <p:cNvPr id="29" name="矩形 28"/>
          <p:cNvSpPr/>
          <p:nvPr/>
        </p:nvSpPr>
        <p:spPr>
          <a:xfrm>
            <a:off x="3110410" y="3081053"/>
            <a:ext cx="5445762" cy="66024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  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概况</a:t>
            </a:r>
          </a:p>
        </p:txBody>
      </p:sp>
      <p:sp>
        <p:nvSpPr>
          <p:cNvPr id="38" name="矩形 37"/>
          <p:cNvSpPr/>
          <p:nvPr/>
        </p:nvSpPr>
        <p:spPr>
          <a:xfrm>
            <a:off x="2015010" y="4203573"/>
            <a:ext cx="1080120" cy="66024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、</a:t>
            </a:r>
          </a:p>
        </p:txBody>
      </p:sp>
      <p:sp>
        <p:nvSpPr>
          <p:cNvPr id="39" name="矩形 38"/>
          <p:cNvSpPr/>
          <p:nvPr/>
        </p:nvSpPr>
        <p:spPr>
          <a:xfrm>
            <a:off x="3110410" y="4204461"/>
            <a:ext cx="5445762" cy="66024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b="1" dirty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  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房地产市场</a:t>
            </a:r>
          </a:p>
        </p:txBody>
      </p:sp>
      <p:sp>
        <p:nvSpPr>
          <p:cNvPr id="42" name="矩形 41"/>
          <p:cNvSpPr/>
          <p:nvPr/>
        </p:nvSpPr>
        <p:spPr>
          <a:xfrm>
            <a:off x="2015010" y="5326981"/>
            <a:ext cx="1080120" cy="66024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3110410" y="5327869"/>
            <a:ext cx="5445762" cy="66024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  </a:t>
            </a:r>
            <a:r>
              <a:rPr lang="zh-CN" altLang="en-US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测算及投资建议</a:t>
            </a:r>
          </a:p>
        </p:txBody>
      </p:sp>
    </p:spTree>
    <p:extLst>
      <p:ext uri="{BB962C8B-B14F-4D97-AF65-F5344CB8AC3E}">
        <p14:creationId xmlns:p14="http://schemas.microsoft.com/office/powerpoint/2010/main" val="169829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/>
        </p:nvSpPr>
        <p:spPr>
          <a:xfrm>
            <a:off x="328618" y="358130"/>
            <a:ext cx="7443782" cy="523208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r>
              <a:rPr lang="zh-CN" altLang="en-US" sz="28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项目静态测算</a:t>
            </a:r>
            <a:endParaRPr lang="zh-CN" altLang="en-US" sz="2800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3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8869270"/>
              </p:ext>
            </p:extLst>
          </p:nvPr>
        </p:nvGraphicFramePr>
        <p:xfrm>
          <a:off x="422379" y="1594257"/>
          <a:ext cx="11464821" cy="3143997"/>
        </p:xfrm>
        <a:graphic>
          <a:graphicData uri="http://schemas.openxmlformats.org/drawingml/2006/table">
            <a:tbl>
              <a:tblPr/>
              <a:tblGrid>
                <a:gridCol w="2813881"/>
                <a:gridCol w="2558074"/>
                <a:gridCol w="1651120"/>
                <a:gridCol w="1837162"/>
                <a:gridCol w="2604584"/>
              </a:tblGrid>
              <a:tr h="87232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品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面积（㎡）</a:t>
                      </a:r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单价</a:t>
                      </a:r>
                      <a:r>
                        <a:rPr lang="en-US" altLang="zh-CN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㎡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含税金额（万元）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总货值</a:t>
                      </a:r>
                      <a:r>
                        <a:rPr lang="en-US" altLang="zh-CN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元</a:t>
                      </a:r>
                      <a:r>
                        <a:rPr lang="en-US" altLang="zh-CN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45433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洋房</a:t>
                      </a:r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  <a:r>
                        <a:rPr lang="en-US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F(㎡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7762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5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187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12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433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小高</a:t>
                      </a:r>
                      <a:r>
                        <a:rPr lang="en-US" altLang="zh-CN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</a:t>
                      </a:r>
                      <a:r>
                        <a:rPr 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F（㎡）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47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3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809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45433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商业</a:t>
                      </a:r>
                      <a:r>
                        <a:rPr lang="en-US" altLang="zh-CN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㎡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5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0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8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45433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车位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5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0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4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45433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车位销售比例</a:t>
                      </a:r>
                      <a:r>
                        <a:rPr lang="en-US" altLang="zh-CN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: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销售周期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0314693"/>
              </p:ext>
            </p:extLst>
          </p:nvPr>
        </p:nvGraphicFramePr>
        <p:xfrm>
          <a:off x="422377" y="4968558"/>
          <a:ext cx="11464821" cy="4286276"/>
        </p:xfrm>
        <a:graphic>
          <a:graphicData uri="http://schemas.openxmlformats.org/drawingml/2006/table">
            <a:tbl>
              <a:tblPr/>
              <a:tblGrid>
                <a:gridCol w="3633536"/>
                <a:gridCol w="3317576"/>
                <a:gridCol w="2144012"/>
                <a:gridCol w="2369697"/>
              </a:tblGrid>
              <a:tr h="331755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公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33175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含税金额（万元）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可售单方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面单方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3175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原始成本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6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75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２</a:t>
                      </a:r>
                      <a:r>
                        <a:rPr lang="en-US" altLang="zh-CN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6</a:t>
                      </a:r>
                      <a:r>
                        <a:rPr lang="zh-CN" alt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建安成本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09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97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6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75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营销费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78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75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管理费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6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75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财务费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02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75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增值税及附加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12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75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土地增值税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8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75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企业所得税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8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697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净利润（清算）</a:t>
                      </a:r>
                      <a:br>
                        <a:rPr lang="zh-CN" alt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元</a:t>
                      </a:r>
                      <a:r>
                        <a:rPr lang="en-US" altLang="zh-CN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4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4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6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75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销售净利润率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8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4662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/>
        </p:nvSpPr>
        <p:spPr>
          <a:xfrm>
            <a:off x="328618" y="358130"/>
            <a:ext cx="7443782" cy="523208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r>
              <a:rPr lang="zh-CN" altLang="en-US" sz="28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投资建议</a:t>
            </a:r>
            <a:endParaRPr lang="zh-CN" altLang="en-US" sz="2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TextBox 1"/>
          <p:cNvSpPr txBox="1">
            <a:spLocks noChangeArrowheads="1"/>
          </p:cNvSpPr>
          <p:nvPr/>
        </p:nvSpPr>
        <p:spPr bwMode="auto">
          <a:xfrm>
            <a:off x="529365" y="1861729"/>
            <a:ext cx="11520024" cy="6432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45714">
            <a:spAutoFit/>
          </a:bodyPr>
          <a:lstStyle>
            <a:lvl1pPr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1pPr>
            <a:lvl2pPr marL="742950" indent="-28575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2pPr>
            <a:lvl3pPr marL="11430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3pPr>
            <a:lvl4pPr marL="16002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4pPr>
            <a:lvl5pPr marL="20574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zh-CN" altLang="en-US" sz="1800" b="1" dirty="0">
                <a:latin typeface="微软雅黑" pitchFamily="34" charset="-122"/>
                <a:ea typeface="微软雅黑" pitchFamily="34" charset="-122"/>
              </a:rPr>
              <a:t>投资建议</a:t>
            </a:r>
            <a:r>
              <a:rPr lang="zh-CN" altLang="en-US" sz="1800" b="1" dirty="0" smtClean="0">
                <a:latin typeface="微软雅黑" pitchFamily="34" charset="-122"/>
                <a:ea typeface="微软雅黑" pitchFamily="34" charset="-122"/>
              </a:rPr>
              <a:t>：</a:t>
            </a:r>
            <a:endParaRPr lang="en-US" altLang="zh-CN" sz="1800" b="1" dirty="0" smtClean="0">
              <a:latin typeface="微软雅黑" pitchFamily="34" charset="-122"/>
              <a:ea typeface="微软雅黑" pitchFamily="34" charset="-122"/>
            </a:endParaRPr>
          </a:p>
          <a:p>
            <a:pPr eaLnBrk="1" hangingPunct="1">
              <a:lnSpc>
                <a:spcPct val="150000"/>
              </a:lnSpc>
            </a:pPr>
            <a:endParaRPr lang="en-US" altLang="zh-CN" sz="1800" b="1" dirty="0" smtClean="0">
              <a:latin typeface="微软雅黑" pitchFamily="34" charset="-122"/>
              <a:ea typeface="微软雅黑" pitchFamily="34" charset="-122"/>
            </a:endParaRPr>
          </a:p>
          <a:p>
            <a:pPr eaLnBrk="1" hangingPunct="1">
              <a:lnSpc>
                <a:spcPct val="150000"/>
              </a:lnSpc>
            </a:pPr>
            <a:r>
              <a:rPr lang="zh-CN" altLang="en-US" sz="18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结论：</a:t>
            </a:r>
            <a:r>
              <a:rPr lang="zh-CN" altLang="en-US" sz="1800" dirty="0" smtClean="0">
                <a:latin typeface="微软雅黑" pitchFamily="34" charset="-122"/>
                <a:ea typeface="微软雅黑" pitchFamily="34" charset="-122"/>
              </a:rPr>
              <a:t>建议立项，项目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适合整体打造滑雪小镇，一期由于周边配套有待完善，产品定位和市场营销关键，因此，项目市场流速是本案成败的关键。</a:t>
            </a:r>
            <a:endParaRPr lang="en-US" altLang="zh-CN" sz="1800" dirty="0">
              <a:latin typeface="微软雅黑" pitchFamily="34" charset="-122"/>
              <a:ea typeface="微软雅黑" pitchFamily="34" charset="-122"/>
            </a:endParaRPr>
          </a:p>
          <a:p>
            <a:pPr eaLnBrk="1" hangingPunct="1">
              <a:lnSpc>
                <a:spcPct val="150000"/>
              </a:lnSpc>
            </a:pPr>
            <a:endParaRPr lang="en-US" altLang="zh-CN" sz="1800" b="1" dirty="0" smtClean="0">
              <a:latin typeface="微软雅黑" pitchFamily="34" charset="-122"/>
              <a:ea typeface="微软雅黑" pitchFamily="34" charset="-122"/>
            </a:endParaRPr>
          </a:p>
          <a:p>
            <a:pPr eaLnBrk="1" hangingPunct="1">
              <a:lnSpc>
                <a:spcPct val="150000"/>
              </a:lnSpc>
            </a:pPr>
            <a:r>
              <a:rPr lang="zh-CN" altLang="en-US" sz="18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市场机会点：</a:t>
            </a:r>
            <a:r>
              <a:rPr lang="zh-CN" altLang="en-US" sz="18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高铁经济圈快速发展，市场火爆需通过捆绑车位实现高溢价；区域本地开发商为主，无品牌开发商；区域竞品产品面积偏大控制面积走差异化预计流量可提速。</a:t>
            </a:r>
            <a:endParaRPr lang="en-US" altLang="zh-CN" sz="1800" b="1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eaLnBrk="1" hangingPunct="1">
              <a:lnSpc>
                <a:spcPct val="150000"/>
              </a:lnSpc>
            </a:pPr>
            <a:endParaRPr lang="en-US" altLang="zh-CN" sz="1800" b="1" dirty="0" smtClean="0">
              <a:latin typeface="微软雅黑" pitchFamily="34" charset="-122"/>
              <a:ea typeface="微软雅黑" pitchFamily="34" charset="-122"/>
            </a:endParaRPr>
          </a:p>
          <a:p>
            <a:pPr eaLnBrk="1" hangingPunct="1">
              <a:lnSpc>
                <a:spcPct val="150000"/>
              </a:lnSpc>
            </a:pPr>
            <a:r>
              <a:rPr lang="zh-CN" altLang="en-US" sz="18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市场</a:t>
            </a:r>
            <a:r>
              <a:rPr lang="zh-CN" altLang="en-US" sz="18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风险点：</a:t>
            </a:r>
            <a:r>
              <a:rPr lang="zh-CN" altLang="en-US" sz="18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市场下行风险，绑车位溢价下半年或不可持续；捆绑溢价，要求客户实力高导致各项目流速一般；宗地处城乡结合处，发展初期，配套不足无法支撑溢价</a:t>
            </a:r>
            <a:r>
              <a:rPr lang="zh-CN" altLang="en-US" sz="18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。</a:t>
            </a:r>
            <a:endParaRPr lang="en-US" altLang="zh-CN" sz="18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eaLnBrk="1" hangingPunct="1">
              <a:lnSpc>
                <a:spcPct val="150000"/>
              </a:lnSpc>
            </a:pPr>
            <a:endParaRPr lang="en-US" altLang="zh-CN" sz="1800" b="1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eaLnBrk="1" hangingPunct="1">
              <a:lnSpc>
                <a:spcPct val="150000"/>
              </a:lnSpc>
            </a:pPr>
            <a:r>
              <a:rPr lang="zh-CN" altLang="en-US" sz="18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市场及流速：</a:t>
            </a:r>
            <a:r>
              <a:rPr lang="zh-CN" altLang="en-US" sz="1800" dirty="0" smtClean="0">
                <a:latin typeface="微软雅黑" pitchFamily="34" charset="-122"/>
                <a:ea typeface="微软雅黑" pitchFamily="34" charset="-122"/>
              </a:rPr>
              <a:t>远期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预期市场上行良好，未来可期。以现有周边竞品价格入市</a:t>
            </a: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8700/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㎡，整盘均价</a:t>
            </a: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9500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元</a:t>
            </a: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㎡，项目以流量大盘定位，月均去化</a:t>
            </a: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42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套，项目去化周期</a:t>
            </a: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年。</a:t>
            </a:r>
            <a:endParaRPr lang="en-US" altLang="zh-CN" sz="1800" dirty="0">
              <a:latin typeface="微软雅黑" pitchFamily="34" charset="-122"/>
              <a:ea typeface="微软雅黑" pitchFamily="34" charset="-122"/>
            </a:endParaRPr>
          </a:p>
          <a:p>
            <a:pPr eaLnBrk="1" hangingPunct="1">
              <a:lnSpc>
                <a:spcPct val="150000"/>
              </a:lnSpc>
            </a:pPr>
            <a:endParaRPr lang="en-US" altLang="zh-CN" sz="1800" b="1" dirty="0">
              <a:latin typeface="微软雅黑" pitchFamily="34" charset="-122"/>
              <a:ea typeface="微软雅黑" pitchFamily="34" charset="-122"/>
            </a:endParaRPr>
          </a:p>
          <a:p>
            <a:pPr eaLnBrk="1" hangingPunct="1">
              <a:lnSpc>
                <a:spcPct val="150000"/>
              </a:lnSpc>
              <a:spcBef>
                <a:spcPts val="1200"/>
              </a:spcBef>
            </a:pPr>
            <a:endParaRPr lang="en-US" altLang="zh-CN" sz="1800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27914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7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矩形 14"/>
          <p:cNvSpPr/>
          <p:nvPr/>
        </p:nvSpPr>
        <p:spPr>
          <a:xfrm>
            <a:off x="328618" y="358130"/>
            <a:ext cx="4435111" cy="523208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r>
              <a:rPr lang="zh-CN" altLang="en-US" sz="28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基础指标</a:t>
            </a:r>
            <a:endParaRPr lang="zh-CN" altLang="en-US" sz="2800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10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2310482"/>
              </p:ext>
            </p:extLst>
          </p:nvPr>
        </p:nvGraphicFramePr>
        <p:xfrm>
          <a:off x="555319" y="1822290"/>
          <a:ext cx="11259309" cy="7147539"/>
        </p:xfrm>
        <a:graphic>
          <a:graphicData uri="http://schemas.openxmlformats.org/drawingml/2006/table">
            <a:tbl>
              <a:tblPr/>
              <a:tblGrid>
                <a:gridCol w="207176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18754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92245"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楷体_GB2312" pitchFamily="49" charset="-122"/>
                        </a:rPr>
                        <a:t>地块名称</a:t>
                      </a:r>
                      <a:endParaRPr kumimoji="0" lang="zh-CN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楷体_GB2312" pitchFamily="49" charset="-122"/>
                      </a:endParaRPr>
                    </a:p>
                  </a:txBody>
                  <a:tcPr marL="171035" marR="171035" marT="85519" marB="85519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Times New Roman" pitchFamily="18" charset="0"/>
                        </a:rPr>
                        <a:t>高新区冯营子区域崔梨沟</a:t>
                      </a:r>
                      <a:r>
                        <a:rPr kumimoji="0" lang="en-US" altLang="zh-CN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Times New Roman" pitchFamily="18" charset="0"/>
                        </a:rPr>
                        <a:t>192.54</a:t>
                      </a:r>
                      <a:r>
                        <a:rPr kumimoji="0" lang="zh-CN" alt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Times New Roman" pitchFamily="18" charset="0"/>
                        </a:rPr>
                        <a:t>亩</a:t>
                      </a:r>
                    </a:p>
                  </a:txBody>
                  <a:tcPr marL="171035" marR="171035" marT="85519" marB="8551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2245"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楷体_GB2312" pitchFamily="49" charset="-122"/>
                        </a:rPr>
                        <a:t>地块位置</a:t>
                      </a:r>
                      <a:endParaRPr kumimoji="0" lang="zh-CN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楷体_GB2312" pitchFamily="49" charset="-122"/>
                      </a:endParaRPr>
                    </a:p>
                  </a:txBody>
                  <a:tcPr marL="171035" marR="171035" marT="85519" marB="85519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Times New Roman" pitchFamily="18" charset="0"/>
                        </a:rPr>
                        <a:t>东临滨河路，南临规划支路，西临规划支路，北临棚改地块和小学用地</a:t>
                      </a:r>
                    </a:p>
                  </a:txBody>
                  <a:tcPr marL="171035" marR="171035" marT="85519" marB="8551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92245"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楷体_GB2312" pitchFamily="49" charset="-122"/>
                        </a:rPr>
                        <a:t>地块面积</a:t>
                      </a:r>
                      <a:endParaRPr kumimoji="0" lang="zh-CN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楷体_GB2312" pitchFamily="49" charset="-122"/>
                      </a:endParaRPr>
                    </a:p>
                  </a:txBody>
                  <a:tcPr marL="171035" marR="171035" marT="85519" marB="85519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Times New Roman" pitchFamily="18" charset="0"/>
                        </a:rPr>
                        <a:t>128356.94</a:t>
                      </a: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Times New Roman" pitchFamily="18" charset="0"/>
                        </a:rPr>
                        <a:t>㎡合</a:t>
                      </a:r>
                      <a:r>
                        <a:rPr kumimoji="0" lang="en-US" altLang="zh-CN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Times New Roman" pitchFamily="18" charset="0"/>
                        </a:rPr>
                        <a:t>192.54</a:t>
                      </a: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Times New Roman" pitchFamily="18" charset="0"/>
                        </a:rPr>
                        <a:t>亩</a:t>
                      </a:r>
                    </a:p>
                  </a:txBody>
                  <a:tcPr marL="171035" marR="171035" marT="85519" marB="8551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92245"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楷体_GB2312" pitchFamily="49" charset="-122"/>
                        </a:rPr>
                        <a:t>用地性质</a:t>
                      </a:r>
                      <a:endParaRPr kumimoji="0" lang="zh-CN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楷体_GB2312" pitchFamily="49" charset="-122"/>
                      </a:endParaRPr>
                    </a:p>
                  </a:txBody>
                  <a:tcPr marL="171035" marR="171035" marT="85519" marB="85519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楷体_GB2312" pitchFamily="49" charset="-122"/>
                        </a:rPr>
                        <a:t>二类住宅用地</a:t>
                      </a:r>
                      <a:endParaRPr kumimoji="0" lang="zh-CN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楷体_GB2312" pitchFamily="49" charset="-122"/>
                      </a:endParaRPr>
                    </a:p>
                  </a:txBody>
                  <a:tcPr marL="171035" marR="171035" marT="85519" marB="8551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92245"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楷体_GB2312" pitchFamily="49" charset="-122"/>
                        </a:rPr>
                        <a:t>土地权属情况</a:t>
                      </a:r>
                      <a:endParaRPr kumimoji="0" lang="zh-CN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楷体_GB2312" pitchFamily="49" charset="-122"/>
                      </a:endParaRPr>
                    </a:p>
                  </a:txBody>
                  <a:tcPr marL="171035" marR="171035" marT="85519" marB="85519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Times New Roman" pitchFamily="18" charset="0"/>
                        </a:rPr>
                        <a:t>（不存在土地抵押、质押等）</a:t>
                      </a:r>
                    </a:p>
                  </a:txBody>
                  <a:tcPr marL="171035" marR="171035" marT="85519" marB="8551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92245"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楷体_GB2312" pitchFamily="49" charset="-122"/>
                        </a:rPr>
                        <a:t>建筑密度</a:t>
                      </a:r>
                      <a:endParaRPr kumimoji="0" lang="zh-CN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楷体_GB2312" pitchFamily="49" charset="-122"/>
                      </a:endParaRPr>
                    </a:p>
                  </a:txBody>
                  <a:tcPr marL="171035" marR="171035" marT="85519" marB="85519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Times New Roman" pitchFamily="18" charset="0"/>
                        </a:rPr>
                        <a:t>≤</a:t>
                      </a:r>
                      <a:r>
                        <a:rPr kumimoji="0" lang="en-US" altLang="zh-CN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Times New Roman" pitchFamily="18" charset="0"/>
                        </a:rPr>
                        <a:t>25%</a:t>
                      </a:r>
                      <a:endParaRPr kumimoji="0" lang="zh-CN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Times New Roman" pitchFamily="18" charset="0"/>
                      </a:endParaRPr>
                    </a:p>
                  </a:txBody>
                  <a:tcPr marL="171035" marR="171035" marT="85519" marB="8551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92245"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楷体_GB2312" pitchFamily="49" charset="-122"/>
                        </a:rPr>
                        <a:t>容 积 率</a:t>
                      </a:r>
                      <a:endParaRPr kumimoji="0" lang="zh-CN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楷体_GB2312" pitchFamily="49" charset="-122"/>
                      </a:endParaRPr>
                    </a:p>
                  </a:txBody>
                  <a:tcPr marL="171035" marR="171035" marT="85519" marB="85519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楷体_GB2312" pitchFamily="49" charset="-122"/>
                        </a:rPr>
                        <a:t>≤</a:t>
                      </a:r>
                      <a:r>
                        <a:rPr kumimoji="0" lang="en-US" altLang="zh-CN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楷体_GB2312" pitchFamily="49" charset="-122"/>
                        </a:rPr>
                        <a:t>1.8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楷体_GB2312" pitchFamily="49" charset="-122"/>
                      </a:endParaRPr>
                    </a:p>
                  </a:txBody>
                  <a:tcPr marL="171035" marR="171035" marT="85519" marB="8551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92245"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楷体_GB2312" pitchFamily="49" charset="-122"/>
                        </a:rPr>
                        <a:t>计容面积</a:t>
                      </a:r>
                      <a:endParaRPr kumimoji="0" lang="zh-CN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楷体_GB2312" pitchFamily="49" charset="-122"/>
                      </a:endParaRPr>
                    </a:p>
                  </a:txBody>
                  <a:tcPr marL="171035" marR="171035" marT="85519" marB="85519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Times New Roman" pitchFamily="18" charset="0"/>
                        </a:rPr>
                        <a:t>≤</a:t>
                      </a:r>
                      <a:r>
                        <a:rPr kumimoji="0" lang="en-US" altLang="zh-CN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Times New Roman" pitchFamily="18" charset="0"/>
                        </a:rPr>
                        <a:t>231042.4</a:t>
                      </a: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Times New Roman" pitchFamily="18" charset="0"/>
                        </a:rPr>
                        <a:t>㎡</a:t>
                      </a:r>
                      <a:r>
                        <a:rPr kumimoji="0" lang="en-US" altLang="zh-CN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Times New Roman" pitchFamily="18" charset="0"/>
                        </a:rPr>
                        <a:t> 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楷体_GB2312" pitchFamily="49" charset="-122"/>
                      </a:endParaRPr>
                    </a:p>
                  </a:txBody>
                  <a:tcPr marL="171035" marR="171035" marT="85519" marB="8551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88804"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楷体_GB2312" pitchFamily="49" charset="-122"/>
                        </a:rPr>
                        <a:t>建筑</a:t>
                      </a:r>
                      <a:r>
                        <a:rPr kumimoji="0" lang="zh-CN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楷体_GB2312" pitchFamily="49" charset="-122"/>
                        </a:rPr>
                        <a:t>限高</a:t>
                      </a:r>
                      <a:endParaRPr kumimoji="0" lang="zh-CN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楷体_GB2312" pitchFamily="49" charset="-122"/>
                      </a:endParaRPr>
                    </a:p>
                  </a:txBody>
                  <a:tcPr marL="171035" marR="171035" marT="85519" marB="85519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zh-CN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楷体_GB2312" pitchFamily="49" charset="-122"/>
                        </a:rPr>
                        <a:t>50</a:t>
                      </a: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楷体_GB2312" pitchFamily="49" charset="-122"/>
                        </a:rPr>
                        <a:t>米</a:t>
                      </a:r>
                    </a:p>
                  </a:txBody>
                  <a:tcPr marL="171035" marR="171035" marT="85519" marB="8551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94399"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楷体_GB2312" pitchFamily="49" charset="-122"/>
                        </a:rPr>
                        <a:t>交易对价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楷体_GB2312" pitchFamily="49" charset="-122"/>
                      </a:endParaRPr>
                    </a:p>
                  </a:txBody>
                  <a:tcPr marL="171035" marR="171035" marT="85519" marB="85519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zh-CN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楷体_GB2312" pitchFamily="49" charset="-122"/>
                        </a:rPr>
                        <a:t>56021</a:t>
                      </a: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楷体_GB2312" pitchFamily="49" charset="-122"/>
                        </a:rPr>
                        <a:t>万元</a:t>
                      </a:r>
                      <a:endParaRPr kumimoji="0" lang="en-US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楷体_GB2312" pitchFamily="49" charset="-122"/>
                      </a:endParaRPr>
                    </a:p>
                  </a:txBody>
                  <a:tcPr marL="168910" marR="168910" marT="86360" marB="863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492245"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楷体_GB2312" pitchFamily="49" charset="-122"/>
                        </a:rPr>
                        <a:t>有票成本</a:t>
                      </a:r>
                      <a:endParaRPr kumimoji="0" lang="zh-CN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楷体_GB2312" pitchFamily="49" charset="-122"/>
                      </a:endParaRPr>
                    </a:p>
                  </a:txBody>
                  <a:tcPr marL="171035" marR="171035" marT="85519" marB="85519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楷体_GB2312" pitchFamily="49" charset="-122"/>
                        </a:rPr>
                        <a:t>56021</a:t>
                      </a:r>
                      <a:r>
                        <a:rPr kumimoji="0" lang="zh-CN" alt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楷体_GB2312" pitchFamily="49" charset="-122"/>
                        </a:rPr>
                        <a:t>万元（溢价待定万元）</a:t>
                      </a:r>
                    </a:p>
                  </a:txBody>
                  <a:tcPr marL="171035" marR="171035" marT="85519" marB="8551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492245"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999"/>
                        </a:buClr>
                        <a:buSzPct val="7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楷体_GB2312" pitchFamily="49" charset="-122"/>
                        </a:rPr>
                        <a:t>地块获取方式</a:t>
                      </a:r>
                      <a:endParaRPr kumimoji="0" lang="zh-CN" altLang="en-US" sz="2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楷体_GB2312" pitchFamily="49" charset="-122"/>
                      </a:endParaRPr>
                    </a:p>
                  </a:txBody>
                  <a:tcPr marL="171035" marR="171035" marT="85519" marB="85519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楷体_GB2312" pitchFamily="49" charset="-122"/>
                        </a:rPr>
                        <a:t>股权合作</a:t>
                      </a:r>
                      <a:endParaRPr kumimoji="0" lang="zh-CN" alt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楷体_GB2312" pitchFamily="49" charset="-122"/>
                      </a:endParaRPr>
                    </a:p>
                  </a:txBody>
                  <a:tcPr marL="171035" marR="171035" marT="85519" marB="8551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241886"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楷体_GB2312" pitchFamily="49" charset="-122"/>
                        </a:rPr>
                        <a:t>其他</a:t>
                      </a: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楷体_GB2312" pitchFamily="49" charset="-122"/>
                        </a:rPr>
                        <a:t>要求</a:t>
                      </a:r>
                      <a:endParaRPr kumimoji="0" lang="zh-CN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楷体_GB2312" pitchFamily="49" charset="-122"/>
                      </a:endParaRPr>
                    </a:p>
                  </a:txBody>
                  <a:tcPr marL="171035" marR="171035" marT="85519" marB="85519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楷体_GB2312" pitchFamily="49" charset="-122"/>
                        </a:rPr>
                        <a:t>日照大于等于大寒日</a:t>
                      </a:r>
                      <a:r>
                        <a:rPr kumimoji="0" lang="en-US" altLang="zh-CN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楷体_GB2312" pitchFamily="49" charset="-122"/>
                        </a:rPr>
                        <a:t>2</a:t>
                      </a:r>
                      <a:r>
                        <a:rPr kumimoji="0" lang="zh-CN" alt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楷体_GB2312" pitchFamily="49" charset="-122"/>
                        </a:rPr>
                        <a:t>小时，绿色建筑不低于二星标准规划设计；落实海绵城市有关要求，多途径技术控制年径流量，年径流总量控制率为</a:t>
                      </a:r>
                      <a:r>
                        <a:rPr kumimoji="0" lang="en-US" altLang="zh-CN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楷体_GB2312" pitchFamily="49" charset="-122"/>
                        </a:rPr>
                        <a:t>80%</a:t>
                      </a:r>
                      <a:r>
                        <a:rPr kumimoji="0" lang="zh-CN" alt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楷体_GB2312" pitchFamily="49" charset="-122"/>
                        </a:rPr>
                        <a:t>；规划建筑考虑节能设计和太阳能一体化设计；规划建筑需按</a:t>
                      </a:r>
                      <a:r>
                        <a:rPr kumimoji="0" lang="en-US" altLang="zh-CN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楷体_GB2312" pitchFamily="49" charset="-122"/>
                        </a:rPr>
                        <a:t>《</a:t>
                      </a:r>
                      <a:r>
                        <a:rPr kumimoji="0" lang="zh-CN" alt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楷体_GB2312" pitchFamily="49" charset="-122"/>
                        </a:rPr>
                        <a:t>无障碍设计规范</a:t>
                      </a:r>
                      <a:r>
                        <a:rPr kumimoji="0" lang="en-US" altLang="zh-CN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楷体_GB2312" pitchFamily="49" charset="-122"/>
                        </a:rPr>
                        <a:t>》</a:t>
                      </a:r>
                      <a:r>
                        <a:rPr kumimoji="0" lang="zh-CN" alt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楷体_GB2312" pitchFamily="49" charset="-122"/>
                        </a:rPr>
                        <a:t>要求，考虑无障碍设施的设置。</a:t>
                      </a:r>
                      <a:endParaRPr kumimoji="0" lang="en-US" altLang="zh-CN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楷体_GB2312" pitchFamily="49" charset="-122"/>
                      </a:endParaRPr>
                    </a:p>
                  </a:txBody>
                  <a:tcPr marL="171035" marR="171035" marT="85519" marB="8551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9751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矩形 20"/>
          <p:cNvSpPr/>
          <p:nvPr/>
        </p:nvSpPr>
        <p:spPr>
          <a:xfrm>
            <a:off x="328618" y="358130"/>
            <a:ext cx="4435111" cy="523208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r>
              <a:rPr lang="zh-CN" altLang="en-US" sz="28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项目区位</a:t>
            </a:r>
            <a:endParaRPr lang="zh-CN" altLang="en-US" sz="2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TextBox 1"/>
          <p:cNvSpPr txBox="1">
            <a:spLocks noChangeArrowheads="1"/>
          </p:cNvSpPr>
          <p:nvPr/>
        </p:nvSpPr>
        <p:spPr bwMode="auto">
          <a:xfrm>
            <a:off x="707428" y="1427483"/>
            <a:ext cx="11780273" cy="1431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45714">
            <a:spAutoFit/>
          </a:bodyPr>
          <a:lstStyle>
            <a:lvl1pPr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1pPr>
            <a:lvl2pPr marL="742950" indent="-28575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2pPr>
            <a:lvl3pPr marL="11430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3pPr>
            <a:lvl4pPr marL="16002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4pPr>
            <a:lvl5pPr marL="20574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块位于承德市中心城区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双桥区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济技术开发区（高新区）</a:t>
            </a:r>
            <a:r>
              <a:rPr lang="zh-CN" altLang="en-US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其中南区（经济技术开发区）规划城市建设用地面积</a:t>
            </a:r>
            <a:r>
              <a:rPr lang="en-US" altLang="zh-CN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.36</a:t>
            </a:r>
            <a:r>
              <a:rPr lang="zh-CN" altLang="en-US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方公里，功能以现代服务业为主；</a:t>
            </a:r>
            <a:endParaRPr lang="zh-CN" altLang="en-US" sz="20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>
              <a:lnSpc>
                <a:spcPct val="150000"/>
              </a:lnSpc>
            </a:pPr>
            <a:endParaRPr lang="en-US" altLang="zh-CN" sz="2000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3451382"/>
              </p:ext>
            </p:extLst>
          </p:nvPr>
        </p:nvGraphicFramePr>
        <p:xfrm>
          <a:off x="919398" y="2660014"/>
          <a:ext cx="4628846" cy="6806390"/>
        </p:xfrm>
        <a:graphic>
          <a:graphicData uri="http://schemas.openxmlformats.org/drawingml/2006/table">
            <a:tbl>
              <a:tblPr/>
              <a:tblGrid>
                <a:gridCol w="112223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50660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459328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zh-CN" altLang="en-US" sz="1600" b="0" i="0" u="none" strike="noStrike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所在版块简介</a:t>
                      </a:r>
                      <a:endParaRPr lang="en-US" altLang="zh-CN" sz="1600" b="0" i="0" u="none" strike="noStrike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758" marR="5758" marT="57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8016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地块位于承德市中心城区双桥经济技术开发区（高新区），处于华北和东北两个地区的连接过渡地带，地近京津，背靠蒙辽，省内与秦皇岛、唐山两个沿海城市和张家口市，</a:t>
                      </a:r>
                      <a:r>
                        <a:rPr lang="en-US" altLang="zh-CN" sz="1600" b="0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998</a:t>
                      </a:r>
                      <a:r>
                        <a:rPr lang="zh-CN" altLang="en-US" sz="1600" b="0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底列入中国首批优秀旅游城市，有“紫塞明珠”之称，中心城区人口</a:t>
                      </a:r>
                      <a:r>
                        <a:rPr lang="en-US" altLang="zh-CN" sz="1600" b="0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20</a:t>
                      </a:r>
                      <a:r>
                        <a:rPr lang="zh-CN" altLang="en-US" sz="1600" b="0" i="0" u="none" strike="noStrike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万</a:t>
                      </a:r>
                      <a:r>
                        <a:rPr lang="zh-CN" altLang="en-US" sz="16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。</a:t>
                      </a:r>
                      <a:endParaRPr lang="en-US" altLang="zh-CN" sz="1600" b="0" i="0" u="none" strike="noStrike" kern="1200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8000" marR="5758" marT="57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44576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zh-CN" altLang="en-US" sz="1600" kern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与城市中心关系</a:t>
                      </a:r>
                      <a:endParaRPr lang="en-US" altLang="zh-CN" sz="1600" b="1" i="0" u="none" strike="noStrike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758" marR="5758" marT="57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8016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地块距承德市老城区</a:t>
                      </a: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里，处于承德市高新区板块，距离承德南站高铁站</a:t>
                      </a: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里，交通便利。</a:t>
                      </a:r>
                    </a:p>
                  </a:txBody>
                  <a:tcPr marL="108000" marR="5758" marT="57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195736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zh-CN" altLang="en-US" sz="1600" kern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与区域中心关系</a:t>
                      </a:r>
                      <a:endParaRPr lang="en-US" altLang="zh-CN" sz="1600" b="1" i="0" u="none" strike="noStrike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758" marR="5758" marT="57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CN" altLang="en-US" sz="16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距离北京</a:t>
                      </a:r>
                      <a:r>
                        <a:rPr lang="en-US" altLang="zh-CN" sz="16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0</a:t>
                      </a:r>
                      <a:r>
                        <a:rPr lang="zh-CN" altLang="en-US" sz="16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里</a:t>
                      </a:r>
                      <a:endParaRPr lang="en-US" altLang="zh-CN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zh-CN" altLang="en-US" sz="16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距离天津市区</a:t>
                      </a:r>
                      <a:r>
                        <a:rPr lang="en-US" altLang="zh-CN" sz="16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0</a:t>
                      </a:r>
                      <a:r>
                        <a:rPr lang="zh-CN" altLang="en-US" sz="16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里</a:t>
                      </a:r>
                    </a:p>
                  </a:txBody>
                  <a:tcPr marL="108000" marR="5758" marT="57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15" name="Picture 2">
            <a:extLst>
              <a:ext uri="{FF2B5EF4-FFF2-40B4-BE49-F238E27FC236}">
                <a16:creationId xmlns="" xmlns:a16="http://schemas.microsoft.com/office/drawing/2014/main" id="{1C2FAD82-961F-4E5F-A0A8-1BD59EFBCE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6058" y="2660014"/>
            <a:ext cx="6000783" cy="6699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01873" y="6979976"/>
            <a:ext cx="242766" cy="229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860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矩形 20"/>
          <p:cNvSpPr/>
          <p:nvPr/>
        </p:nvSpPr>
        <p:spPr>
          <a:xfrm>
            <a:off x="328618" y="358130"/>
            <a:ext cx="4435111" cy="523208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r>
              <a:rPr lang="zh-CN" altLang="en-US" sz="28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项目周边环境</a:t>
            </a:r>
            <a:endParaRPr lang="zh-CN" altLang="en-US" sz="2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" name="TextBox 1"/>
          <p:cNvSpPr txBox="1">
            <a:spLocks noChangeArrowheads="1"/>
          </p:cNvSpPr>
          <p:nvPr/>
        </p:nvSpPr>
        <p:spPr bwMode="auto">
          <a:xfrm>
            <a:off x="354842" y="1408949"/>
            <a:ext cx="12147549" cy="969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45714">
            <a:spAutoFit/>
          </a:bodyPr>
          <a:lstStyle>
            <a:lvl1pPr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1pPr>
            <a:lvl2pPr marL="742950" indent="-28575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2pPr>
            <a:lvl3pPr marL="11430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3pPr>
            <a:lvl4pPr marL="16002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4pPr>
            <a:lvl5pPr marL="20574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9pPr>
          </a:lstStyle>
          <a:p>
            <a:pPr defTabSz="483855">
              <a:lnSpc>
                <a:spcPct val="150000"/>
              </a:lnSpc>
              <a:defRPr/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项目位于高新区高铁商务区板块南侧，本案地处国家级滑雪小镇起步区，依山傍水，环境优美，距离承德高铁南站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5km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承秦高速出入口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km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交通便利。</a:t>
            </a:r>
          </a:p>
        </p:txBody>
      </p:sp>
      <p:graphicFrame>
        <p:nvGraphicFramePr>
          <p:cNvPr id="23" name="表格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5378398"/>
              </p:ext>
            </p:extLst>
          </p:nvPr>
        </p:nvGraphicFramePr>
        <p:xfrm>
          <a:off x="398384" y="2515179"/>
          <a:ext cx="3447901" cy="6201691"/>
        </p:xfrm>
        <a:graphic>
          <a:graphicData uri="http://schemas.openxmlformats.org/drawingml/2006/table">
            <a:tbl>
              <a:tblPr/>
              <a:tblGrid>
                <a:gridCol w="80934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63855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244023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地块四至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758" marR="5758" marT="57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8016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南至：</a:t>
                      </a: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Times New Roman" pitchFamily="18" charset="0"/>
                        </a:rPr>
                        <a:t>规划支路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l" defTabSz="128016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北至：</a:t>
                      </a: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Times New Roman" pitchFamily="18" charset="0"/>
                        </a:rPr>
                        <a:t>北临棚改地块和小学用地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indent="0" algn="l" defTabSz="128016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西至：</a:t>
                      </a: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Times New Roman" pitchFamily="18" charset="0"/>
                        </a:rPr>
                        <a:t>规划支路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indent="0" algn="l" defTabSz="128016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东至：</a:t>
                      </a: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Times New Roman" pitchFamily="18" charset="0"/>
                        </a:rPr>
                        <a:t>滨河路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8000" marR="5758" marT="57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231348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zh-CN" altLang="en-US" sz="1400" b="0" i="0" u="none" strike="noStrike" kern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地块交通</a:t>
                      </a:r>
                      <a:endParaRPr lang="en-US" altLang="zh-CN" sz="1400" b="1" i="0" u="none" strike="noStrike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758" marR="5758" marT="57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8016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现状交通：秦承高速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indent="0" algn="l" defTabSz="128016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规划交通：承德南高铁站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KM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沈阳方向已经开通，北京方向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0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试运行）</a:t>
                      </a:r>
                    </a:p>
                  </a:txBody>
                  <a:tcPr marL="108000" marR="5758" marT="57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2632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临街面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758" marR="5758" marT="57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8016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东侧滨河路临街</a:t>
                      </a:r>
                    </a:p>
                  </a:txBody>
                  <a:tcPr marL="108000" marR="5758" marT="57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19" name="图片 18">
            <a:extLst>
              <a:ext uri="{FF2B5EF4-FFF2-40B4-BE49-F238E27FC236}">
                <a16:creationId xmlns="" xmlns:a16="http://schemas.microsoft.com/office/drawing/2014/main" id="{DFAAF945-F275-473E-9CE5-85707AB227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223" y="2515179"/>
            <a:ext cx="8160972" cy="6201691"/>
          </a:xfrm>
          <a:prstGeom prst="rect">
            <a:avLst/>
          </a:prstGeom>
        </p:spPr>
      </p:pic>
      <p:sp>
        <p:nvSpPr>
          <p:cNvPr id="20" name="任意多边形: 形状 37">
            <a:extLst>
              <a:ext uri="{FF2B5EF4-FFF2-40B4-BE49-F238E27FC236}">
                <a16:creationId xmlns="" xmlns:a16="http://schemas.microsoft.com/office/drawing/2014/main" id="{79E3F54A-6C2C-40D4-A18D-66E6A5375A78}"/>
              </a:ext>
            </a:extLst>
          </p:cNvPr>
          <p:cNvSpPr/>
          <p:nvPr/>
        </p:nvSpPr>
        <p:spPr>
          <a:xfrm>
            <a:off x="4154320" y="2528310"/>
            <a:ext cx="6558216" cy="6162499"/>
          </a:xfrm>
          <a:custGeom>
            <a:avLst/>
            <a:gdLst>
              <a:gd name="connsiteX0" fmla="*/ 2762250 w 5372100"/>
              <a:gd name="connsiteY0" fmla="*/ 0 h 4686300"/>
              <a:gd name="connsiteX1" fmla="*/ 2590800 w 5372100"/>
              <a:gd name="connsiteY1" fmla="*/ 723900 h 4686300"/>
              <a:gd name="connsiteX2" fmla="*/ 2743200 w 5372100"/>
              <a:gd name="connsiteY2" fmla="*/ 1047750 h 4686300"/>
              <a:gd name="connsiteX3" fmla="*/ 3505200 w 5372100"/>
              <a:gd name="connsiteY3" fmla="*/ 1409700 h 4686300"/>
              <a:gd name="connsiteX4" fmla="*/ 3962400 w 5372100"/>
              <a:gd name="connsiteY4" fmla="*/ 1657350 h 4686300"/>
              <a:gd name="connsiteX5" fmla="*/ 4476750 w 5372100"/>
              <a:gd name="connsiteY5" fmla="*/ 2628900 h 4686300"/>
              <a:gd name="connsiteX6" fmla="*/ 4838700 w 5372100"/>
              <a:gd name="connsiteY6" fmla="*/ 3181350 h 4686300"/>
              <a:gd name="connsiteX7" fmla="*/ 5010150 w 5372100"/>
              <a:gd name="connsiteY7" fmla="*/ 3848100 h 4686300"/>
              <a:gd name="connsiteX8" fmla="*/ 5181600 w 5372100"/>
              <a:gd name="connsiteY8" fmla="*/ 4552950 h 4686300"/>
              <a:gd name="connsiteX9" fmla="*/ 5372100 w 5372100"/>
              <a:gd name="connsiteY9" fmla="*/ 4686300 h 4686300"/>
              <a:gd name="connsiteX10" fmla="*/ 4972050 w 5372100"/>
              <a:gd name="connsiteY10" fmla="*/ 4686300 h 4686300"/>
              <a:gd name="connsiteX11" fmla="*/ 4953000 w 5372100"/>
              <a:gd name="connsiteY11" fmla="*/ 4419600 h 4686300"/>
              <a:gd name="connsiteX12" fmla="*/ 4838700 w 5372100"/>
              <a:gd name="connsiteY12" fmla="*/ 3962400 h 4686300"/>
              <a:gd name="connsiteX13" fmla="*/ 4724400 w 5372100"/>
              <a:gd name="connsiteY13" fmla="*/ 3352800 h 4686300"/>
              <a:gd name="connsiteX14" fmla="*/ 4343400 w 5372100"/>
              <a:gd name="connsiteY14" fmla="*/ 2647950 h 4686300"/>
              <a:gd name="connsiteX15" fmla="*/ 3657600 w 5372100"/>
              <a:gd name="connsiteY15" fmla="*/ 1638300 h 4686300"/>
              <a:gd name="connsiteX16" fmla="*/ 2590800 w 5372100"/>
              <a:gd name="connsiteY16" fmla="*/ 1104900 h 4686300"/>
              <a:gd name="connsiteX17" fmla="*/ 2228850 w 5372100"/>
              <a:gd name="connsiteY17" fmla="*/ 1181100 h 4686300"/>
              <a:gd name="connsiteX18" fmla="*/ 1885950 w 5372100"/>
              <a:gd name="connsiteY18" fmla="*/ 1162050 h 4686300"/>
              <a:gd name="connsiteX19" fmla="*/ 1543050 w 5372100"/>
              <a:gd name="connsiteY19" fmla="*/ 1504950 h 4686300"/>
              <a:gd name="connsiteX20" fmla="*/ 1733550 w 5372100"/>
              <a:gd name="connsiteY20" fmla="*/ 2038350 h 4686300"/>
              <a:gd name="connsiteX21" fmla="*/ 1771650 w 5372100"/>
              <a:gd name="connsiteY21" fmla="*/ 2419350 h 4686300"/>
              <a:gd name="connsiteX22" fmla="*/ 1143000 w 5372100"/>
              <a:gd name="connsiteY22" fmla="*/ 2647950 h 4686300"/>
              <a:gd name="connsiteX23" fmla="*/ 952500 w 5372100"/>
              <a:gd name="connsiteY23" fmla="*/ 3009900 h 4686300"/>
              <a:gd name="connsiteX24" fmla="*/ 457200 w 5372100"/>
              <a:gd name="connsiteY24" fmla="*/ 3276600 h 4686300"/>
              <a:gd name="connsiteX25" fmla="*/ 285750 w 5372100"/>
              <a:gd name="connsiteY25" fmla="*/ 3600450 h 4686300"/>
              <a:gd name="connsiteX26" fmla="*/ 38100 w 5372100"/>
              <a:gd name="connsiteY26" fmla="*/ 3886200 h 4686300"/>
              <a:gd name="connsiteX27" fmla="*/ 0 w 5372100"/>
              <a:gd name="connsiteY27" fmla="*/ 3638550 h 4686300"/>
              <a:gd name="connsiteX28" fmla="*/ 247650 w 5372100"/>
              <a:gd name="connsiteY28" fmla="*/ 3257550 h 4686300"/>
              <a:gd name="connsiteX29" fmla="*/ 628650 w 5372100"/>
              <a:gd name="connsiteY29" fmla="*/ 2895600 h 4686300"/>
              <a:gd name="connsiteX30" fmla="*/ 1066800 w 5372100"/>
              <a:gd name="connsiteY30" fmla="*/ 2667000 h 4686300"/>
              <a:gd name="connsiteX31" fmla="*/ 1543050 w 5372100"/>
              <a:gd name="connsiteY31" fmla="*/ 2419350 h 4686300"/>
              <a:gd name="connsiteX32" fmla="*/ 1504950 w 5372100"/>
              <a:gd name="connsiteY32" fmla="*/ 1981200 h 4686300"/>
              <a:gd name="connsiteX33" fmla="*/ 1390650 w 5372100"/>
              <a:gd name="connsiteY33" fmla="*/ 1676400 h 4686300"/>
              <a:gd name="connsiteX34" fmla="*/ 1543050 w 5372100"/>
              <a:gd name="connsiteY34" fmla="*/ 1200150 h 4686300"/>
              <a:gd name="connsiteX35" fmla="*/ 1847850 w 5372100"/>
              <a:gd name="connsiteY35" fmla="*/ 971550 h 4686300"/>
              <a:gd name="connsiteX36" fmla="*/ 2343150 w 5372100"/>
              <a:gd name="connsiteY36" fmla="*/ 933450 h 4686300"/>
              <a:gd name="connsiteX37" fmla="*/ 2419350 w 5372100"/>
              <a:gd name="connsiteY37" fmla="*/ 838200 h 4686300"/>
              <a:gd name="connsiteX38" fmla="*/ 2647950 w 5372100"/>
              <a:gd name="connsiteY38" fmla="*/ 0 h 4686300"/>
              <a:gd name="connsiteX39" fmla="*/ 2762250 w 5372100"/>
              <a:gd name="connsiteY39" fmla="*/ 0 h 4686300"/>
              <a:gd name="connsiteX0" fmla="*/ 2762250 w 5372100"/>
              <a:gd name="connsiteY0" fmla="*/ 0 h 4686300"/>
              <a:gd name="connsiteX1" fmla="*/ 2590800 w 5372100"/>
              <a:gd name="connsiteY1" fmla="*/ 723900 h 4686300"/>
              <a:gd name="connsiteX2" fmla="*/ 2743200 w 5372100"/>
              <a:gd name="connsiteY2" fmla="*/ 1047750 h 4686300"/>
              <a:gd name="connsiteX3" fmla="*/ 3505200 w 5372100"/>
              <a:gd name="connsiteY3" fmla="*/ 1409700 h 4686300"/>
              <a:gd name="connsiteX4" fmla="*/ 3962400 w 5372100"/>
              <a:gd name="connsiteY4" fmla="*/ 1657350 h 4686300"/>
              <a:gd name="connsiteX5" fmla="*/ 4476750 w 5372100"/>
              <a:gd name="connsiteY5" fmla="*/ 2628900 h 4686300"/>
              <a:gd name="connsiteX6" fmla="*/ 4838700 w 5372100"/>
              <a:gd name="connsiteY6" fmla="*/ 3181350 h 4686300"/>
              <a:gd name="connsiteX7" fmla="*/ 5010150 w 5372100"/>
              <a:gd name="connsiteY7" fmla="*/ 3848100 h 4686300"/>
              <a:gd name="connsiteX8" fmla="*/ 5181600 w 5372100"/>
              <a:gd name="connsiteY8" fmla="*/ 4552950 h 4686300"/>
              <a:gd name="connsiteX9" fmla="*/ 5372100 w 5372100"/>
              <a:gd name="connsiteY9" fmla="*/ 4686300 h 4686300"/>
              <a:gd name="connsiteX10" fmla="*/ 4972050 w 5372100"/>
              <a:gd name="connsiteY10" fmla="*/ 4686300 h 4686300"/>
              <a:gd name="connsiteX11" fmla="*/ 4953000 w 5372100"/>
              <a:gd name="connsiteY11" fmla="*/ 4419600 h 4686300"/>
              <a:gd name="connsiteX12" fmla="*/ 4838700 w 5372100"/>
              <a:gd name="connsiteY12" fmla="*/ 3962400 h 4686300"/>
              <a:gd name="connsiteX13" fmla="*/ 4724400 w 5372100"/>
              <a:gd name="connsiteY13" fmla="*/ 3352800 h 4686300"/>
              <a:gd name="connsiteX14" fmla="*/ 4343400 w 5372100"/>
              <a:gd name="connsiteY14" fmla="*/ 2647950 h 4686300"/>
              <a:gd name="connsiteX15" fmla="*/ 3657600 w 5372100"/>
              <a:gd name="connsiteY15" fmla="*/ 1638300 h 4686300"/>
              <a:gd name="connsiteX16" fmla="*/ 2590800 w 5372100"/>
              <a:gd name="connsiteY16" fmla="*/ 1104900 h 4686300"/>
              <a:gd name="connsiteX17" fmla="*/ 2228850 w 5372100"/>
              <a:gd name="connsiteY17" fmla="*/ 1181100 h 4686300"/>
              <a:gd name="connsiteX18" fmla="*/ 1885950 w 5372100"/>
              <a:gd name="connsiteY18" fmla="*/ 1162050 h 4686300"/>
              <a:gd name="connsiteX19" fmla="*/ 1543050 w 5372100"/>
              <a:gd name="connsiteY19" fmla="*/ 1504950 h 4686300"/>
              <a:gd name="connsiteX20" fmla="*/ 1733550 w 5372100"/>
              <a:gd name="connsiteY20" fmla="*/ 2038350 h 4686300"/>
              <a:gd name="connsiteX21" fmla="*/ 1771650 w 5372100"/>
              <a:gd name="connsiteY21" fmla="*/ 2419350 h 4686300"/>
              <a:gd name="connsiteX22" fmla="*/ 1143000 w 5372100"/>
              <a:gd name="connsiteY22" fmla="*/ 2647950 h 4686300"/>
              <a:gd name="connsiteX23" fmla="*/ 952500 w 5372100"/>
              <a:gd name="connsiteY23" fmla="*/ 3009900 h 4686300"/>
              <a:gd name="connsiteX24" fmla="*/ 457200 w 5372100"/>
              <a:gd name="connsiteY24" fmla="*/ 3276600 h 4686300"/>
              <a:gd name="connsiteX25" fmla="*/ 285750 w 5372100"/>
              <a:gd name="connsiteY25" fmla="*/ 3600450 h 4686300"/>
              <a:gd name="connsiteX26" fmla="*/ 38100 w 5372100"/>
              <a:gd name="connsiteY26" fmla="*/ 3886200 h 4686300"/>
              <a:gd name="connsiteX27" fmla="*/ 0 w 5372100"/>
              <a:gd name="connsiteY27" fmla="*/ 3638550 h 4686300"/>
              <a:gd name="connsiteX28" fmla="*/ 247650 w 5372100"/>
              <a:gd name="connsiteY28" fmla="*/ 3257550 h 4686300"/>
              <a:gd name="connsiteX29" fmla="*/ 628650 w 5372100"/>
              <a:gd name="connsiteY29" fmla="*/ 2895600 h 4686300"/>
              <a:gd name="connsiteX30" fmla="*/ 1066800 w 5372100"/>
              <a:gd name="connsiteY30" fmla="*/ 2667000 h 4686300"/>
              <a:gd name="connsiteX31" fmla="*/ 1543050 w 5372100"/>
              <a:gd name="connsiteY31" fmla="*/ 2419350 h 4686300"/>
              <a:gd name="connsiteX32" fmla="*/ 1504950 w 5372100"/>
              <a:gd name="connsiteY32" fmla="*/ 1981200 h 4686300"/>
              <a:gd name="connsiteX33" fmla="*/ 1390650 w 5372100"/>
              <a:gd name="connsiteY33" fmla="*/ 1676400 h 4686300"/>
              <a:gd name="connsiteX34" fmla="*/ 1543050 w 5372100"/>
              <a:gd name="connsiteY34" fmla="*/ 1200150 h 4686300"/>
              <a:gd name="connsiteX35" fmla="*/ 1847850 w 5372100"/>
              <a:gd name="connsiteY35" fmla="*/ 971550 h 4686300"/>
              <a:gd name="connsiteX36" fmla="*/ 2343150 w 5372100"/>
              <a:gd name="connsiteY36" fmla="*/ 933450 h 4686300"/>
              <a:gd name="connsiteX37" fmla="*/ 2419350 w 5372100"/>
              <a:gd name="connsiteY37" fmla="*/ 838200 h 4686300"/>
              <a:gd name="connsiteX38" fmla="*/ 2647950 w 5372100"/>
              <a:gd name="connsiteY38" fmla="*/ 0 h 4686300"/>
              <a:gd name="connsiteX39" fmla="*/ 2762250 w 5372100"/>
              <a:gd name="connsiteY39" fmla="*/ 0 h 4686300"/>
              <a:gd name="connsiteX0" fmla="*/ 2762250 w 5372100"/>
              <a:gd name="connsiteY0" fmla="*/ 0 h 4686300"/>
              <a:gd name="connsiteX1" fmla="*/ 2590800 w 5372100"/>
              <a:gd name="connsiteY1" fmla="*/ 723900 h 4686300"/>
              <a:gd name="connsiteX2" fmla="*/ 2743200 w 5372100"/>
              <a:gd name="connsiteY2" fmla="*/ 1047750 h 4686300"/>
              <a:gd name="connsiteX3" fmla="*/ 3505200 w 5372100"/>
              <a:gd name="connsiteY3" fmla="*/ 1409700 h 4686300"/>
              <a:gd name="connsiteX4" fmla="*/ 3962400 w 5372100"/>
              <a:gd name="connsiteY4" fmla="*/ 1657350 h 4686300"/>
              <a:gd name="connsiteX5" fmla="*/ 4476750 w 5372100"/>
              <a:gd name="connsiteY5" fmla="*/ 2628900 h 4686300"/>
              <a:gd name="connsiteX6" fmla="*/ 4838700 w 5372100"/>
              <a:gd name="connsiteY6" fmla="*/ 3181350 h 4686300"/>
              <a:gd name="connsiteX7" fmla="*/ 5010150 w 5372100"/>
              <a:gd name="connsiteY7" fmla="*/ 3848100 h 4686300"/>
              <a:gd name="connsiteX8" fmla="*/ 5181600 w 5372100"/>
              <a:gd name="connsiteY8" fmla="*/ 4552950 h 4686300"/>
              <a:gd name="connsiteX9" fmla="*/ 5372100 w 5372100"/>
              <a:gd name="connsiteY9" fmla="*/ 4686300 h 4686300"/>
              <a:gd name="connsiteX10" fmla="*/ 4972050 w 5372100"/>
              <a:gd name="connsiteY10" fmla="*/ 4686300 h 4686300"/>
              <a:gd name="connsiteX11" fmla="*/ 4953000 w 5372100"/>
              <a:gd name="connsiteY11" fmla="*/ 4419600 h 4686300"/>
              <a:gd name="connsiteX12" fmla="*/ 4838700 w 5372100"/>
              <a:gd name="connsiteY12" fmla="*/ 3962400 h 4686300"/>
              <a:gd name="connsiteX13" fmla="*/ 4724400 w 5372100"/>
              <a:gd name="connsiteY13" fmla="*/ 3352800 h 4686300"/>
              <a:gd name="connsiteX14" fmla="*/ 4343400 w 5372100"/>
              <a:gd name="connsiteY14" fmla="*/ 2647950 h 4686300"/>
              <a:gd name="connsiteX15" fmla="*/ 3657600 w 5372100"/>
              <a:gd name="connsiteY15" fmla="*/ 1638300 h 4686300"/>
              <a:gd name="connsiteX16" fmla="*/ 2590800 w 5372100"/>
              <a:gd name="connsiteY16" fmla="*/ 1104900 h 4686300"/>
              <a:gd name="connsiteX17" fmla="*/ 2228850 w 5372100"/>
              <a:gd name="connsiteY17" fmla="*/ 1181100 h 4686300"/>
              <a:gd name="connsiteX18" fmla="*/ 1885950 w 5372100"/>
              <a:gd name="connsiteY18" fmla="*/ 1162050 h 4686300"/>
              <a:gd name="connsiteX19" fmla="*/ 1543050 w 5372100"/>
              <a:gd name="connsiteY19" fmla="*/ 1504950 h 4686300"/>
              <a:gd name="connsiteX20" fmla="*/ 1733550 w 5372100"/>
              <a:gd name="connsiteY20" fmla="*/ 2038350 h 4686300"/>
              <a:gd name="connsiteX21" fmla="*/ 1771650 w 5372100"/>
              <a:gd name="connsiteY21" fmla="*/ 2419350 h 4686300"/>
              <a:gd name="connsiteX22" fmla="*/ 1143000 w 5372100"/>
              <a:gd name="connsiteY22" fmla="*/ 2647950 h 4686300"/>
              <a:gd name="connsiteX23" fmla="*/ 952500 w 5372100"/>
              <a:gd name="connsiteY23" fmla="*/ 3009900 h 4686300"/>
              <a:gd name="connsiteX24" fmla="*/ 457200 w 5372100"/>
              <a:gd name="connsiteY24" fmla="*/ 3276600 h 4686300"/>
              <a:gd name="connsiteX25" fmla="*/ 285750 w 5372100"/>
              <a:gd name="connsiteY25" fmla="*/ 3600450 h 4686300"/>
              <a:gd name="connsiteX26" fmla="*/ 38100 w 5372100"/>
              <a:gd name="connsiteY26" fmla="*/ 3886200 h 4686300"/>
              <a:gd name="connsiteX27" fmla="*/ 0 w 5372100"/>
              <a:gd name="connsiteY27" fmla="*/ 3638550 h 4686300"/>
              <a:gd name="connsiteX28" fmla="*/ 247650 w 5372100"/>
              <a:gd name="connsiteY28" fmla="*/ 3257550 h 4686300"/>
              <a:gd name="connsiteX29" fmla="*/ 628650 w 5372100"/>
              <a:gd name="connsiteY29" fmla="*/ 2895600 h 4686300"/>
              <a:gd name="connsiteX30" fmla="*/ 1066800 w 5372100"/>
              <a:gd name="connsiteY30" fmla="*/ 2667000 h 4686300"/>
              <a:gd name="connsiteX31" fmla="*/ 1543050 w 5372100"/>
              <a:gd name="connsiteY31" fmla="*/ 2419350 h 4686300"/>
              <a:gd name="connsiteX32" fmla="*/ 1504950 w 5372100"/>
              <a:gd name="connsiteY32" fmla="*/ 1981200 h 4686300"/>
              <a:gd name="connsiteX33" fmla="*/ 1390650 w 5372100"/>
              <a:gd name="connsiteY33" fmla="*/ 1676400 h 4686300"/>
              <a:gd name="connsiteX34" fmla="*/ 1543050 w 5372100"/>
              <a:gd name="connsiteY34" fmla="*/ 1200150 h 4686300"/>
              <a:gd name="connsiteX35" fmla="*/ 1847850 w 5372100"/>
              <a:gd name="connsiteY35" fmla="*/ 971550 h 4686300"/>
              <a:gd name="connsiteX36" fmla="*/ 2343150 w 5372100"/>
              <a:gd name="connsiteY36" fmla="*/ 933450 h 4686300"/>
              <a:gd name="connsiteX37" fmla="*/ 2419350 w 5372100"/>
              <a:gd name="connsiteY37" fmla="*/ 838200 h 4686300"/>
              <a:gd name="connsiteX38" fmla="*/ 2647950 w 5372100"/>
              <a:gd name="connsiteY38" fmla="*/ 0 h 4686300"/>
              <a:gd name="connsiteX39" fmla="*/ 2762250 w 5372100"/>
              <a:gd name="connsiteY39" fmla="*/ 0 h 4686300"/>
              <a:gd name="connsiteX0" fmla="*/ 2762250 w 5372100"/>
              <a:gd name="connsiteY0" fmla="*/ 0 h 4686300"/>
              <a:gd name="connsiteX1" fmla="*/ 2590800 w 5372100"/>
              <a:gd name="connsiteY1" fmla="*/ 723900 h 4686300"/>
              <a:gd name="connsiteX2" fmla="*/ 2743200 w 5372100"/>
              <a:gd name="connsiteY2" fmla="*/ 1047750 h 4686300"/>
              <a:gd name="connsiteX3" fmla="*/ 3505200 w 5372100"/>
              <a:gd name="connsiteY3" fmla="*/ 1409700 h 4686300"/>
              <a:gd name="connsiteX4" fmla="*/ 3962400 w 5372100"/>
              <a:gd name="connsiteY4" fmla="*/ 1657350 h 4686300"/>
              <a:gd name="connsiteX5" fmla="*/ 4476750 w 5372100"/>
              <a:gd name="connsiteY5" fmla="*/ 2628900 h 4686300"/>
              <a:gd name="connsiteX6" fmla="*/ 4838700 w 5372100"/>
              <a:gd name="connsiteY6" fmla="*/ 3181350 h 4686300"/>
              <a:gd name="connsiteX7" fmla="*/ 5010150 w 5372100"/>
              <a:gd name="connsiteY7" fmla="*/ 3848100 h 4686300"/>
              <a:gd name="connsiteX8" fmla="*/ 5181600 w 5372100"/>
              <a:gd name="connsiteY8" fmla="*/ 4552950 h 4686300"/>
              <a:gd name="connsiteX9" fmla="*/ 5372100 w 5372100"/>
              <a:gd name="connsiteY9" fmla="*/ 4686300 h 4686300"/>
              <a:gd name="connsiteX10" fmla="*/ 4972050 w 5372100"/>
              <a:gd name="connsiteY10" fmla="*/ 4686300 h 4686300"/>
              <a:gd name="connsiteX11" fmla="*/ 4953000 w 5372100"/>
              <a:gd name="connsiteY11" fmla="*/ 4419600 h 4686300"/>
              <a:gd name="connsiteX12" fmla="*/ 4838700 w 5372100"/>
              <a:gd name="connsiteY12" fmla="*/ 3962400 h 4686300"/>
              <a:gd name="connsiteX13" fmla="*/ 4724400 w 5372100"/>
              <a:gd name="connsiteY13" fmla="*/ 3352800 h 4686300"/>
              <a:gd name="connsiteX14" fmla="*/ 4343400 w 5372100"/>
              <a:gd name="connsiteY14" fmla="*/ 2647950 h 4686300"/>
              <a:gd name="connsiteX15" fmla="*/ 3657600 w 5372100"/>
              <a:gd name="connsiteY15" fmla="*/ 1638300 h 4686300"/>
              <a:gd name="connsiteX16" fmla="*/ 2590800 w 5372100"/>
              <a:gd name="connsiteY16" fmla="*/ 1104900 h 4686300"/>
              <a:gd name="connsiteX17" fmla="*/ 2228850 w 5372100"/>
              <a:gd name="connsiteY17" fmla="*/ 1181100 h 4686300"/>
              <a:gd name="connsiteX18" fmla="*/ 1885950 w 5372100"/>
              <a:gd name="connsiteY18" fmla="*/ 1162050 h 4686300"/>
              <a:gd name="connsiteX19" fmla="*/ 1543050 w 5372100"/>
              <a:gd name="connsiteY19" fmla="*/ 1504950 h 4686300"/>
              <a:gd name="connsiteX20" fmla="*/ 1733550 w 5372100"/>
              <a:gd name="connsiteY20" fmla="*/ 2038350 h 4686300"/>
              <a:gd name="connsiteX21" fmla="*/ 1771650 w 5372100"/>
              <a:gd name="connsiteY21" fmla="*/ 2419350 h 4686300"/>
              <a:gd name="connsiteX22" fmla="*/ 1143000 w 5372100"/>
              <a:gd name="connsiteY22" fmla="*/ 2647950 h 4686300"/>
              <a:gd name="connsiteX23" fmla="*/ 952500 w 5372100"/>
              <a:gd name="connsiteY23" fmla="*/ 3009900 h 4686300"/>
              <a:gd name="connsiteX24" fmla="*/ 457200 w 5372100"/>
              <a:gd name="connsiteY24" fmla="*/ 3276600 h 4686300"/>
              <a:gd name="connsiteX25" fmla="*/ 285750 w 5372100"/>
              <a:gd name="connsiteY25" fmla="*/ 3600450 h 4686300"/>
              <a:gd name="connsiteX26" fmla="*/ 38100 w 5372100"/>
              <a:gd name="connsiteY26" fmla="*/ 3886200 h 4686300"/>
              <a:gd name="connsiteX27" fmla="*/ 0 w 5372100"/>
              <a:gd name="connsiteY27" fmla="*/ 3638550 h 4686300"/>
              <a:gd name="connsiteX28" fmla="*/ 247650 w 5372100"/>
              <a:gd name="connsiteY28" fmla="*/ 3257550 h 4686300"/>
              <a:gd name="connsiteX29" fmla="*/ 628650 w 5372100"/>
              <a:gd name="connsiteY29" fmla="*/ 2895600 h 4686300"/>
              <a:gd name="connsiteX30" fmla="*/ 1066800 w 5372100"/>
              <a:gd name="connsiteY30" fmla="*/ 2667000 h 4686300"/>
              <a:gd name="connsiteX31" fmla="*/ 1543050 w 5372100"/>
              <a:gd name="connsiteY31" fmla="*/ 2419350 h 4686300"/>
              <a:gd name="connsiteX32" fmla="*/ 1504950 w 5372100"/>
              <a:gd name="connsiteY32" fmla="*/ 1981200 h 4686300"/>
              <a:gd name="connsiteX33" fmla="*/ 1390650 w 5372100"/>
              <a:gd name="connsiteY33" fmla="*/ 1676400 h 4686300"/>
              <a:gd name="connsiteX34" fmla="*/ 1543050 w 5372100"/>
              <a:gd name="connsiteY34" fmla="*/ 1200150 h 4686300"/>
              <a:gd name="connsiteX35" fmla="*/ 1847850 w 5372100"/>
              <a:gd name="connsiteY35" fmla="*/ 971550 h 4686300"/>
              <a:gd name="connsiteX36" fmla="*/ 2343150 w 5372100"/>
              <a:gd name="connsiteY36" fmla="*/ 933450 h 4686300"/>
              <a:gd name="connsiteX37" fmla="*/ 2419350 w 5372100"/>
              <a:gd name="connsiteY37" fmla="*/ 838200 h 4686300"/>
              <a:gd name="connsiteX38" fmla="*/ 2647950 w 5372100"/>
              <a:gd name="connsiteY38" fmla="*/ 0 h 4686300"/>
              <a:gd name="connsiteX39" fmla="*/ 2762250 w 5372100"/>
              <a:gd name="connsiteY39" fmla="*/ 0 h 4686300"/>
              <a:gd name="connsiteX0" fmla="*/ 2762250 w 5372100"/>
              <a:gd name="connsiteY0" fmla="*/ 0 h 4686300"/>
              <a:gd name="connsiteX1" fmla="*/ 2590800 w 5372100"/>
              <a:gd name="connsiteY1" fmla="*/ 723900 h 4686300"/>
              <a:gd name="connsiteX2" fmla="*/ 2743200 w 5372100"/>
              <a:gd name="connsiteY2" fmla="*/ 1047750 h 4686300"/>
              <a:gd name="connsiteX3" fmla="*/ 3505200 w 5372100"/>
              <a:gd name="connsiteY3" fmla="*/ 1409700 h 4686300"/>
              <a:gd name="connsiteX4" fmla="*/ 3962400 w 5372100"/>
              <a:gd name="connsiteY4" fmla="*/ 1657350 h 4686300"/>
              <a:gd name="connsiteX5" fmla="*/ 4476750 w 5372100"/>
              <a:gd name="connsiteY5" fmla="*/ 2628900 h 4686300"/>
              <a:gd name="connsiteX6" fmla="*/ 4838700 w 5372100"/>
              <a:gd name="connsiteY6" fmla="*/ 3181350 h 4686300"/>
              <a:gd name="connsiteX7" fmla="*/ 5010150 w 5372100"/>
              <a:gd name="connsiteY7" fmla="*/ 3848100 h 4686300"/>
              <a:gd name="connsiteX8" fmla="*/ 5181600 w 5372100"/>
              <a:gd name="connsiteY8" fmla="*/ 4552950 h 4686300"/>
              <a:gd name="connsiteX9" fmla="*/ 5372100 w 5372100"/>
              <a:gd name="connsiteY9" fmla="*/ 4686300 h 4686300"/>
              <a:gd name="connsiteX10" fmla="*/ 4972050 w 5372100"/>
              <a:gd name="connsiteY10" fmla="*/ 4686300 h 4686300"/>
              <a:gd name="connsiteX11" fmla="*/ 4953000 w 5372100"/>
              <a:gd name="connsiteY11" fmla="*/ 4419600 h 4686300"/>
              <a:gd name="connsiteX12" fmla="*/ 4838700 w 5372100"/>
              <a:gd name="connsiteY12" fmla="*/ 3962400 h 4686300"/>
              <a:gd name="connsiteX13" fmla="*/ 4724400 w 5372100"/>
              <a:gd name="connsiteY13" fmla="*/ 3352800 h 4686300"/>
              <a:gd name="connsiteX14" fmla="*/ 4343400 w 5372100"/>
              <a:gd name="connsiteY14" fmla="*/ 2647950 h 4686300"/>
              <a:gd name="connsiteX15" fmla="*/ 3657600 w 5372100"/>
              <a:gd name="connsiteY15" fmla="*/ 1638300 h 4686300"/>
              <a:gd name="connsiteX16" fmla="*/ 2590800 w 5372100"/>
              <a:gd name="connsiteY16" fmla="*/ 1104900 h 4686300"/>
              <a:gd name="connsiteX17" fmla="*/ 2228850 w 5372100"/>
              <a:gd name="connsiteY17" fmla="*/ 1181100 h 4686300"/>
              <a:gd name="connsiteX18" fmla="*/ 1885950 w 5372100"/>
              <a:gd name="connsiteY18" fmla="*/ 1162050 h 4686300"/>
              <a:gd name="connsiteX19" fmla="*/ 1543050 w 5372100"/>
              <a:gd name="connsiteY19" fmla="*/ 1504950 h 4686300"/>
              <a:gd name="connsiteX20" fmla="*/ 1733550 w 5372100"/>
              <a:gd name="connsiteY20" fmla="*/ 2038350 h 4686300"/>
              <a:gd name="connsiteX21" fmla="*/ 1771650 w 5372100"/>
              <a:gd name="connsiteY21" fmla="*/ 2419350 h 4686300"/>
              <a:gd name="connsiteX22" fmla="*/ 1143000 w 5372100"/>
              <a:gd name="connsiteY22" fmla="*/ 2647950 h 4686300"/>
              <a:gd name="connsiteX23" fmla="*/ 952500 w 5372100"/>
              <a:gd name="connsiteY23" fmla="*/ 3009900 h 4686300"/>
              <a:gd name="connsiteX24" fmla="*/ 457200 w 5372100"/>
              <a:gd name="connsiteY24" fmla="*/ 3276600 h 4686300"/>
              <a:gd name="connsiteX25" fmla="*/ 285750 w 5372100"/>
              <a:gd name="connsiteY25" fmla="*/ 3600450 h 4686300"/>
              <a:gd name="connsiteX26" fmla="*/ 38100 w 5372100"/>
              <a:gd name="connsiteY26" fmla="*/ 3886200 h 4686300"/>
              <a:gd name="connsiteX27" fmla="*/ 0 w 5372100"/>
              <a:gd name="connsiteY27" fmla="*/ 3638550 h 4686300"/>
              <a:gd name="connsiteX28" fmla="*/ 247650 w 5372100"/>
              <a:gd name="connsiteY28" fmla="*/ 3257550 h 4686300"/>
              <a:gd name="connsiteX29" fmla="*/ 628650 w 5372100"/>
              <a:gd name="connsiteY29" fmla="*/ 2895600 h 4686300"/>
              <a:gd name="connsiteX30" fmla="*/ 1066800 w 5372100"/>
              <a:gd name="connsiteY30" fmla="*/ 2667000 h 4686300"/>
              <a:gd name="connsiteX31" fmla="*/ 1543050 w 5372100"/>
              <a:gd name="connsiteY31" fmla="*/ 2419350 h 4686300"/>
              <a:gd name="connsiteX32" fmla="*/ 1504950 w 5372100"/>
              <a:gd name="connsiteY32" fmla="*/ 1981200 h 4686300"/>
              <a:gd name="connsiteX33" fmla="*/ 1390650 w 5372100"/>
              <a:gd name="connsiteY33" fmla="*/ 1676400 h 4686300"/>
              <a:gd name="connsiteX34" fmla="*/ 1543050 w 5372100"/>
              <a:gd name="connsiteY34" fmla="*/ 1200150 h 4686300"/>
              <a:gd name="connsiteX35" fmla="*/ 1847850 w 5372100"/>
              <a:gd name="connsiteY35" fmla="*/ 971550 h 4686300"/>
              <a:gd name="connsiteX36" fmla="*/ 2343150 w 5372100"/>
              <a:gd name="connsiteY36" fmla="*/ 933450 h 4686300"/>
              <a:gd name="connsiteX37" fmla="*/ 2419350 w 5372100"/>
              <a:gd name="connsiteY37" fmla="*/ 838200 h 4686300"/>
              <a:gd name="connsiteX38" fmla="*/ 2647950 w 5372100"/>
              <a:gd name="connsiteY38" fmla="*/ 0 h 4686300"/>
              <a:gd name="connsiteX39" fmla="*/ 2762250 w 5372100"/>
              <a:gd name="connsiteY39" fmla="*/ 0 h 4686300"/>
              <a:gd name="connsiteX0" fmla="*/ 2762250 w 5372100"/>
              <a:gd name="connsiteY0" fmla="*/ 0 h 4686300"/>
              <a:gd name="connsiteX1" fmla="*/ 2590800 w 5372100"/>
              <a:gd name="connsiteY1" fmla="*/ 723900 h 4686300"/>
              <a:gd name="connsiteX2" fmla="*/ 2743200 w 5372100"/>
              <a:gd name="connsiteY2" fmla="*/ 1047750 h 4686300"/>
              <a:gd name="connsiteX3" fmla="*/ 3505200 w 5372100"/>
              <a:gd name="connsiteY3" fmla="*/ 1409700 h 4686300"/>
              <a:gd name="connsiteX4" fmla="*/ 4476750 w 5372100"/>
              <a:gd name="connsiteY4" fmla="*/ 2628900 h 4686300"/>
              <a:gd name="connsiteX5" fmla="*/ 4838700 w 5372100"/>
              <a:gd name="connsiteY5" fmla="*/ 3181350 h 4686300"/>
              <a:gd name="connsiteX6" fmla="*/ 5010150 w 5372100"/>
              <a:gd name="connsiteY6" fmla="*/ 3848100 h 4686300"/>
              <a:gd name="connsiteX7" fmla="*/ 5181600 w 5372100"/>
              <a:gd name="connsiteY7" fmla="*/ 4552950 h 4686300"/>
              <a:gd name="connsiteX8" fmla="*/ 5372100 w 5372100"/>
              <a:gd name="connsiteY8" fmla="*/ 4686300 h 4686300"/>
              <a:gd name="connsiteX9" fmla="*/ 4972050 w 5372100"/>
              <a:gd name="connsiteY9" fmla="*/ 4686300 h 4686300"/>
              <a:gd name="connsiteX10" fmla="*/ 4953000 w 5372100"/>
              <a:gd name="connsiteY10" fmla="*/ 4419600 h 4686300"/>
              <a:gd name="connsiteX11" fmla="*/ 4838700 w 5372100"/>
              <a:gd name="connsiteY11" fmla="*/ 3962400 h 4686300"/>
              <a:gd name="connsiteX12" fmla="*/ 4724400 w 5372100"/>
              <a:gd name="connsiteY12" fmla="*/ 3352800 h 4686300"/>
              <a:gd name="connsiteX13" fmla="*/ 4343400 w 5372100"/>
              <a:gd name="connsiteY13" fmla="*/ 2647950 h 4686300"/>
              <a:gd name="connsiteX14" fmla="*/ 3657600 w 5372100"/>
              <a:gd name="connsiteY14" fmla="*/ 1638300 h 4686300"/>
              <a:gd name="connsiteX15" fmla="*/ 2590800 w 5372100"/>
              <a:gd name="connsiteY15" fmla="*/ 1104900 h 4686300"/>
              <a:gd name="connsiteX16" fmla="*/ 2228850 w 5372100"/>
              <a:gd name="connsiteY16" fmla="*/ 1181100 h 4686300"/>
              <a:gd name="connsiteX17" fmla="*/ 1885950 w 5372100"/>
              <a:gd name="connsiteY17" fmla="*/ 1162050 h 4686300"/>
              <a:gd name="connsiteX18" fmla="*/ 1543050 w 5372100"/>
              <a:gd name="connsiteY18" fmla="*/ 1504950 h 4686300"/>
              <a:gd name="connsiteX19" fmla="*/ 1733550 w 5372100"/>
              <a:gd name="connsiteY19" fmla="*/ 2038350 h 4686300"/>
              <a:gd name="connsiteX20" fmla="*/ 1771650 w 5372100"/>
              <a:gd name="connsiteY20" fmla="*/ 2419350 h 4686300"/>
              <a:gd name="connsiteX21" fmla="*/ 1143000 w 5372100"/>
              <a:gd name="connsiteY21" fmla="*/ 2647950 h 4686300"/>
              <a:gd name="connsiteX22" fmla="*/ 952500 w 5372100"/>
              <a:gd name="connsiteY22" fmla="*/ 3009900 h 4686300"/>
              <a:gd name="connsiteX23" fmla="*/ 457200 w 5372100"/>
              <a:gd name="connsiteY23" fmla="*/ 3276600 h 4686300"/>
              <a:gd name="connsiteX24" fmla="*/ 285750 w 5372100"/>
              <a:gd name="connsiteY24" fmla="*/ 3600450 h 4686300"/>
              <a:gd name="connsiteX25" fmla="*/ 38100 w 5372100"/>
              <a:gd name="connsiteY25" fmla="*/ 3886200 h 4686300"/>
              <a:gd name="connsiteX26" fmla="*/ 0 w 5372100"/>
              <a:gd name="connsiteY26" fmla="*/ 3638550 h 4686300"/>
              <a:gd name="connsiteX27" fmla="*/ 247650 w 5372100"/>
              <a:gd name="connsiteY27" fmla="*/ 3257550 h 4686300"/>
              <a:gd name="connsiteX28" fmla="*/ 628650 w 5372100"/>
              <a:gd name="connsiteY28" fmla="*/ 2895600 h 4686300"/>
              <a:gd name="connsiteX29" fmla="*/ 1066800 w 5372100"/>
              <a:gd name="connsiteY29" fmla="*/ 2667000 h 4686300"/>
              <a:gd name="connsiteX30" fmla="*/ 1543050 w 5372100"/>
              <a:gd name="connsiteY30" fmla="*/ 2419350 h 4686300"/>
              <a:gd name="connsiteX31" fmla="*/ 1504950 w 5372100"/>
              <a:gd name="connsiteY31" fmla="*/ 1981200 h 4686300"/>
              <a:gd name="connsiteX32" fmla="*/ 1390650 w 5372100"/>
              <a:gd name="connsiteY32" fmla="*/ 1676400 h 4686300"/>
              <a:gd name="connsiteX33" fmla="*/ 1543050 w 5372100"/>
              <a:gd name="connsiteY33" fmla="*/ 1200150 h 4686300"/>
              <a:gd name="connsiteX34" fmla="*/ 1847850 w 5372100"/>
              <a:gd name="connsiteY34" fmla="*/ 971550 h 4686300"/>
              <a:gd name="connsiteX35" fmla="*/ 2343150 w 5372100"/>
              <a:gd name="connsiteY35" fmla="*/ 933450 h 4686300"/>
              <a:gd name="connsiteX36" fmla="*/ 2419350 w 5372100"/>
              <a:gd name="connsiteY36" fmla="*/ 838200 h 4686300"/>
              <a:gd name="connsiteX37" fmla="*/ 2647950 w 5372100"/>
              <a:gd name="connsiteY37" fmla="*/ 0 h 4686300"/>
              <a:gd name="connsiteX38" fmla="*/ 2762250 w 5372100"/>
              <a:gd name="connsiteY38" fmla="*/ 0 h 4686300"/>
              <a:gd name="connsiteX0" fmla="*/ 2762250 w 5372100"/>
              <a:gd name="connsiteY0" fmla="*/ 0 h 4686300"/>
              <a:gd name="connsiteX1" fmla="*/ 2590800 w 5372100"/>
              <a:gd name="connsiteY1" fmla="*/ 723900 h 4686300"/>
              <a:gd name="connsiteX2" fmla="*/ 2743200 w 5372100"/>
              <a:gd name="connsiteY2" fmla="*/ 1047750 h 4686300"/>
              <a:gd name="connsiteX3" fmla="*/ 3505200 w 5372100"/>
              <a:gd name="connsiteY3" fmla="*/ 1409700 h 4686300"/>
              <a:gd name="connsiteX4" fmla="*/ 4476750 w 5372100"/>
              <a:gd name="connsiteY4" fmla="*/ 2628900 h 4686300"/>
              <a:gd name="connsiteX5" fmla="*/ 4838700 w 5372100"/>
              <a:gd name="connsiteY5" fmla="*/ 3181350 h 4686300"/>
              <a:gd name="connsiteX6" fmla="*/ 5010150 w 5372100"/>
              <a:gd name="connsiteY6" fmla="*/ 3848100 h 4686300"/>
              <a:gd name="connsiteX7" fmla="*/ 5181600 w 5372100"/>
              <a:gd name="connsiteY7" fmla="*/ 4552950 h 4686300"/>
              <a:gd name="connsiteX8" fmla="*/ 5372100 w 5372100"/>
              <a:gd name="connsiteY8" fmla="*/ 4686300 h 4686300"/>
              <a:gd name="connsiteX9" fmla="*/ 4972050 w 5372100"/>
              <a:gd name="connsiteY9" fmla="*/ 4686300 h 4686300"/>
              <a:gd name="connsiteX10" fmla="*/ 4953000 w 5372100"/>
              <a:gd name="connsiteY10" fmla="*/ 4419600 h 4686300"/>
              <a:gd name="connsiteX11" fmla="*/ 4838700 w 5372100"/>
              <a:gd name="connsiteY11" fmla="*/ 3962400 h 4686300"/>
              <a:gd name="connsiteX12" fmla="*/ 4724400 w 5372100"/>
              <a:gd name="connsiteY12" fmla="*/ 3352800 h 4686300"/>
              <a:gd name="connsiteX13" fmla="*/ 4343400 w 5372100"/>
              <a:gd name="connsiteY13" fmla="*/ 2647950 h 4686300"/>
              <a:gd name="connsiteX14" fmla="*/ 3657600 w 5372100"/>
              <a:gd name="connsiteY14" fmla="*/ 1638300 h 4686300"/>
              <a:gd name="connsiteX15" fmla="*/ 2590800 w 5372100"/>
              <a:gd name="connsiteY15" fmla="*/ 1104900 h 4686300"/>
              <a:gd name="connsiteX16" fmla="*/ 2228850 w 5372100"/>
              <a:gd name="connsiteY16" fmla="*/ 1181100 h 4686300"/>
              <a:gd name="connsiteX17" fmla="*/ 1885950 w 5372100"/>
              <a:gd name="connsiteY17" fmla="*/ 1162050 h 4686300"/>
              <a:gd name="connsiteX18" fmla="*/ 1543050 w 5372100"/>
              <a:gd name="connsiteY18" fmla="*/ 1504950 h 4686300"/>
              <a:gd name="connsiteX19" fmla="*/ 1733550 w 5372100"/>
              <a:gd name="connsiteY19" fmla="*/ 2038350 h 4686300"/>
              <a:gd name="connsiteX20" fmla="*/ 1771650 w 5372100"/>
              <a:gd name="connsiteY20" fmla="*/ 2419350 h 4686300"/>
              <a:gd name="connsiteX21" fmla="*/ 1143000 w 5372100"/>
              <a:gd name="connsiteY21" fmla="*/ 2647950 h 4686300"/>
              <a:gd name="connsiteX22" fmla="*/ 952500 w 5372100"/>
              <a:gd name="connsiteY22" fmla="*/ 3009900 h 4686300"/>
              <a:gd name="connsiteX23" fmla="*/ 457200 w 5372100"/>
              <a:gd name="connsiteY23" fmla="*/ 3276600 h 4686300"/>
              <a:gd name="connsiteX24" fmla="*/ 285750 w 5372100"/>
              <a:gd name="connsiteY24" fmla="*/ 3600450 h 4686300"/>
              <a:gd name="connsiteX25" fmla="*/ 38100 w 5372100"/>
              <a:gd name="connsiteY25" fmla="*/ 3886200 h 4686300"/>
              <a:gd name="connsiteX26" fmla="*/ 0 w 5372100"/>
              <a:gd name="connsiteY26" fmla="*/ 3638550 h 4686300"/>
              <a:gd name="connsiteX27" fmla="*/ 247650 w 5372100"/>
              <a:gd name="connsiteY27" fmla="*/ 3257550 h 4686300"/>
              <a:gd name="connsiteX28" fmla="*/ 628650 w 5372100"/>
              <a:gd name="connsiteY28" fmla="*/ 2895600 h 4686300"/>
              <a:gd name="connsiteX29" fmla="*/ 1066800 w 5372100"/>
              <a:gd name="connsiteY29" fmla="*/ 2667000 h 4686300"/>
              <a:gd name="connsiteX30" fmla="*/ 1543050 w 5372100"/>
              <a:gd name="connsiteY30" fmla="*/ 2419350 h 4686300"/>
              <a:gd name="connsiteX31" fmla="*/ 1504950 w 5372100"/>
              <a:gd name="connsiteY31" fmla="*/ 1981200 h 4686300"/>
              <a:gd name="connsiteX32" fmla="*/ 1390650 w 5372100"/>
              <a:gd name="connsiteY32" fmla="*/ 1676400 h 4686300"/>
              <a:gd name="connsiteX33" fmla="*/ 1543050 w 5372100"/>
              <a:gd name="connsiteY33" fmla="*/ 1200150 h 4686300"/>
              <a:gd name="connsiteX34" fmla="*/ 1847850 w 5372100"/>
              <a:gd name="connsiteY34" fmla="*/ 971550 h 4686300"/>
              <a:gd name="connsiteX35" fmla="*/ 2343150 w 5372100"/>
              <a:gd name="connsiteY35" fmla="*/ 933450 h 4686300"/>
              <a:gd name="connsiteX36" fmla="*/ 2419350 w 5372100"/>
              <a:gd name="connsiteY36" fmla="*/ 838200 h 4686300"/>
              <a:gd name="connsiteX37" fmla="*/ 2647950 w 5372100"/>
              <a:gd name="connsiteY37" fmla="*/ 0 h 4686300"/>
              <a:gd name="connsiteX38" fmla="*/ 2762250 w 5372100"/>
              <a:gd name="connsiteY38" fmla="*/ 0 h 4686300"/>
              <a:gd name="connsiteX0" fmla="*/ 2762250 w 5372100"/>
              <a:gd name="connsiteY0" fmla="*/ 0 h 4686300"/>
              <a:gd name="connsiteX1" fmla="*/ 2590800 w 5372100"/>
              <a:gd name="connsiteY1" fmla="*/ 723900 h 4686300"/>
              <a:gd name="connsiteX2" fmla="*/ 2743200 w 5372100"/>
              <a:gd name="connsiteY2" fmla="*/ 1047750 h 4686300"/>
              <a:gd name="connsiteX3" fmla="*/ 3505200 w 5372100"/>
              <a:gd name="connsiteY3" fmla="*/ 1409700 h 4686300"/>
              <a:gd name="connsiteX4" fmla="*/ 4476750 w 5372100"/>
              <a:gd name="connsiteY4" fmla="*/ 2628900 h 4686300"/>
              <a:gd name="connsiteX5" fmla="*/ 4838700 w 5372100"/>
              <a:gd name="connsiteY5" fmla="*/ 3181350 h 4686300"/>
              <a:gd name="connsiteX6" fmla="*/ 5010150 w 5372100"/>
              <a:gd name="connsiteY6" fmla="*/ 3848100 h 4686300"/>
              <a:gd name="connsiteX7" fmla="*/ 5181600 w 5372100"/>
              <a:gd name="connsiteY7" fmla="*/ 4552950 h 4686300"/>
              <a:gd name="connsiteX8" fmla="*/ 5372100 w 5372100"/>
              <a:gd name="connsiteY8" fmla="*/ 4686300 h 4686300"/>
              <a:gd name="connsiteX9" fmla="*/ 4972050 w 5372100"/>
              <a:gd name="connsiteY9" fmla="*/ 4686300 h 4686300"/>
              <a:gd name="connsiteX10" fmla="*/ 4953000 w 5372100"/>
              <a:gd name="connsiteY10" fmla="*/ 4419600 h 4686300"/>
              <a:gd name="connsiteX11" fmla="*/ 4838700 w 5372100"/>
              <a:gd name="connsiteY11" fmla="*/ 3962400 h 4686300"/>
              <a:gd name="connsiteX12" fmla="*/ 4724400 w 5372100"/>
              <a:gd name="connsiteY12" fmla="*/ 3352800 h 4686300"/>
              <a:gd name="connsiteX13" fmla="*/ 4343400 w 5372100"/>
              <a:gd name="connsiteY13" fmla="*/ 2647950 h 4686300"/>
              <a:gd name="connsiteX14" fmla="*/ 3657600 w 5372100"/>
              <a:gd name="connsiteY14" fmla="*/ 1638300 h 4686300"/>
              <a:gd name="connsiteX15" fmla="*/ 2590800 w 5372100"/>
              <a:gd name="connsiteY15" fmla="*/ 1104900 h 4686300"/>
              <a:gd name="connsiteX16" fmla="*/ 2228850 w 5372100"/>
              <a:gd name="connsiteY16" fmla="*/ 1181100 h 4686300"/>
              <a:gd name="connsiteX17" fmla="*/ 1885950 w 5372100"/>
              <a:gd name="connsiteY17" fmla="*/ 1162050 h 4686300"/>
              <a:gd name="connsiteX18" fmla="*/ 1543050 w 5372100"/>
              <a:gd name="connsiteY18" fmla="*/ 1504950 h 4686300"/>
              <a:gd name="connsiteX19" fmla="*/ 1733550 w 5372100"/>
              <a:gd name="connsiteY19" fmla="*/ 2038350 h 4686300"/>
              <a:gd name="connsiteX20" fmla="*/ 1771650 w 5372100"/>
              <a:gd name="connsiteY20" fmla="*/ 2419350 h 4686300"/>
              <a:gd name="connsiteX21" fmla="*/ 1143000 w 5372100"/>
              <a:gd name="connsiteY21" fmla="*/ 2647950 h 4686300"/>
              <a:gd name="connsiteX22" fmla="*/ 952500 w 5372100"/>
              <a:gd name="connsiteY22" fmla="*/ 3009900 h 4686300"/>
              <a:gd name="connsiteX23" fmla="*/ 457200 w 5372100"/>
              <a:gd name="connsiteY23" fmla="*/ 3276600 h 4686300"/>
              <a:gd name="connsiteX24" fmla="*/ 285750 w 5372100"/>
              <a:gd name="connsiteY24" fmla="*/ 3600450 h 4686300"/>
              <a:gd name="connsiteX25" fmla="*/ 38100 w 5372100"/>
              <a:gd name="connsiteY25" fmla="*/ 3886200 h 4686300"/>
              <a:gd name="connsiteX26" fmla="*/ 0 w 5372100"/>
              <a:gd name="connsiteY26" fmla="*/ 3638550 h 4686300"/>
              <a:gd name="connsiteX27" fmla="*/ 247650 w 5372100"/>
              <a:gd name="connsiteY27" fmla="*/ 3257550 h 4686300"/>
              <a:gd name="connsiteX28" fmla="*/ 628650 w 5372100"/>
              <a:gd name="connsiteY28" fmla="*/ 2895600 h 4686300"/>
              <a:gd name="connsiteX29" fmla="*/ 1066800 w 5372100"/>
              <a:gd name="connsiteY29" fmla="*/ 2667000 h 4686300"/>
              <a:gd name="connsiteX30" fmla="*/ 1543050 w 5372100"/>
              <a:gd name="connsiteY30" fmla="*/ 2419350 h 4686300"/>
              <a:gd name="connsiteX31" fmla="*/ 1504950 w 5372100"/>
              <a:gd name="connsiteY31" fmla="*/ 1981200 h 4686300"/>
              <a:gd name="connsiteX32" fmla="*/ 1390650 w 5372100"/>
              <a:gd name="connsiteY32" fmla="*/ 1676400 h 4686300"/>
              <a:gd name="connsiteX33" fmla="*/ 1543050 w 5372100"/>
              <a:gd name="connsiteY33" fmla="*/ 1200150 h 4686300"/>
              <a:gd name="connsiteX34" fmla="*/ 1847850 w 5372100"/>
              <a:gd name="connsiteY34" fmla="*/ 971550 h 4686300"/>
              <a:gd name="connsiteX35" fmla="*/ 2343150 w 5372100"/>
              <a:gd name="connsiteY35" fmla="*/ 933450 h 4686300"/>
              <a:gd name="connsiteX36" fmla="*/ 2419350 w 5372100"/>
              <a:gd name="connsiteY36" fmla="*/ 838200 h 4686300"/>
              <a:gd name="connsiteX37" fmla="*/ 2647950 w 5372100"/>
              <a:gd name="connsiteY37" fmla="*/ 0 h 4686300"/>
              <a:gd name="connsiteX38" fmla="*/ 2762250 w 5372100"/>
              <a:gd name="connsiteY38" fmla="*/ 0 h 4686300"/>
              <a:gd name="connsiteX0" fmla="*/ 2762250 w 5372100"/>
              <a:gd name="connsiteY0" fmla="*/ 0 h 4686300"/>
              <a:gd name="connsiteX1" fmla="*/ 2590800 w 5372100"/>
              <a:gd name="connsiteY1" fmla="*/ 723900 h 4686300"/>
              <a:gd name="connsiteX2" fmla="*/ 2743200 w 5372100"/>
              <a:gd name="connsiteY2" fmla="*/ 1047750 h 4686300"/>
              <a:gd name="connsiteX3" fmla="*/ 3505200 w 5372100"/>
              <a:gd name="connsiteY3" fmla="*/ 1409700 h 4686300"/>
              <a:gd name="connsiteX4" fmla="*/ 4476750 w 5372100"/>
              <a:gd name="connsiteY4" fmla="*/ 2628900 h 4686300"/>
              <a:gd name="connsiteX5" fmla="*/ 4838700 w 5372100"/>
              <a:gd name="connsiteY5" fmla="*/ 3181350 h 4686300"/>
              <a:gd name="connsiteX6" fmla="*/ 5010150 w 5372100"/>
              <a:gd name="connsiteY6" fmla="*/ 3848100 h 4686300"/>
              <a:gd name="connsiteX7" fmla="*/ 5181600 w 5372100"/>
              <a:gd name="connsiteY7" fmla="*/ 4552950 h 4686300"/>
              <a:gd name="connsiteX8" fmla="*/ 5372100 w 5372100"/>
              <a:gd name="connsiteY8" fmla="*/ 4686300 h 4686300"/>
              <a:gd name="connsiteX9" fmla="*/ 4972050 w 5372100"/>
              <a:gd name="connsiteY9" fmla="*/ 4686300 h 4686300"/>
              <a:gd name="connsiteX10" fmla="*/ 4953000 w 5372100"/>
              <a:gd name="connsiteY10" fmla="*/ 4419600 h 4686300"/>
              <a:gd name="connsiteX11" fmla="*/ 4838700 w 5372100"/>
              <a:gd name="connsiteY11" fmla="*/ 3962400 h 4686300"/>
              <a:gd name="connsiteX12" fmla="*/ 4724400 w 5372100"/>
              <a:gd name="connsiteY12" fmla="*/ 3352800 h 4686300"/>
              <a:gd name="connsiteX13" fmla="*/ 4343400 w 5372100"/>
              <a:gd name="connsiteY13" fmla="*/ 2647950 h 4686300"/>
              <a:gd name="connsiteX14" fmla="*/ 3657600 w 5372100"/>
              <a:gd name="connsiteY14" fmla="*/ 1638300 h 4686300"/>
              <a:gd name="connsiteX15" fmla="*/ 2590800 w 5372100"/>
              <a:gd name="connsiteY15" fmla="*/ 1104900 h 4686300"/>
              <a:gd name="connsiteX16" fmla="*/ 2228850 w 5372100"/>
              <a:gd name="connsiteY16" fmla="*/ 1181100 h 4686300"/>
              <a:gd name="connsiteX17" fmla="*/ 1885950 w 5372100"/>
              <a:gd name="connsiteY17" fmla="*/ 1162050 h 4686300"/>
              <a:gd name="connsiteX18" fmla="*/ 1543050 w 5372100"/>
              <a:gd name="connsiteY18" fmla="*/ 1504950 h 4686300"/>
              <a:gd name="connsiteX19" fmla="*/ 1733550 w 5372100"/>
              <a:gd name="connsiteY19" fmla="*/ 2038350 h 4686300"/>
              <a:gd name="connsiteX20" fmla="*/ 1771650 w 5372100"/>
              <a:gd name="connsiteY20" fmla="*/ 2419350 h 4686300"/>
              <a:gd name="connsiteX21" fmla="*/ 1143000 w 5372100"/>
              <a:gd name="connsiteY21" fmla="*/ 2647950 h 4686300"/>
              <a:gd name="connsiteX22" fmla="*/ 952500 w 5372100"/>
              <a:gd name="connsiteY22" fmla="*/ 3009900 h 4686300"/>
              <a:gd name="connsiteX23" fmla="*/ 457200 w 5372100"/>
              <a:gd name="connsiteY23" fmla="*/ 3276600 h 4686300"/>
              <a:gd name="connsiteX24" fmla="*/ 285750 w 5372100"/>
              <a:gd name="connsiteY24" fmla="*/ 3600450 h 4686300"/>
              <a:gd name="connsiteX25" fmla="*/ 38100 w 5372100"/>
              <a:gd name="connsiteY25" fmla="*/ 3886200 h 4686300"/>
              <a:gd name="connsiteX26" fmla="*/ 0 w 5372100"/>
              <a:gd name="connsiteY26" fmla="*/ 3638550 h 4686300"/>
              <a:gd name="connsiteX27" fmla="*/ 247650 w 5372100"/>
              <a:gd name="connsiteY27" fmla="*/ 3257550 h 4686300"/>
              <a:gd name="connsiteX28" fmla="*/ 628650 w 5372100"/>
              <a:gd name="connsiteY28" fmla="*/ 2895600 h 4686300"/>
              <a:gd name="connsiteX29" fmla="*/ 1066800 w 5372100"/>
              <a:gd name="connsiteY29" fmla="*/ 2667000 h 4686300"/>
              <a:gd name="connsiteX30" fmla="*/ 1543050 w 5372100"/>
              <a:gd name="connsiteY30" fmla="*/ 2419350 h 4686300"/>
              <a:gd name="connsiteX31" fmla="*/ 1504950 w 5372100"/>
              <a:gd name="connsiteY31" fmla="*/ 1981200 h 4686300"/>
              <a:gd name="connsiteX32" fmla="*/ 1390650 w 5372100"/>
              <a:gd name="connsiteY32" fmla="*/ 1676400 h 4686300"/>
              <a:gd name="connsiteX33" fmla="*/ 1543050 w 5372100"/>
              <a:gd name="connsiteY33" fmla="*/ 1200150 h 4686300"/>
              <a:gd name="connsiteX34" fmla="*/ 1847850 w 5372100"/>
              <a:gd name="connsiteY34" fmla="*/ 971550 h 4686300"/>
              <a:gd name="connsiteX35" fmla="*/ 2343150 w 5372100"/>
              <a:gd name="connsiteY35" fmla="*/ 933450 h 4686300"/>
              <a:gd name="connsiteX36" fmla="*/ 2419350 w 5372100"/>
              <a:gd name="connsiteY36" fmla="*/ 838200 h 4686300"/>
              <a:gd name="connsiteX37" fmla="*/ 2647950 w 5372100"/>
              <a:gd name="connsiteY37" fmla="*/ 0 h 4686300"/>
              <a:gd name="connsiteX38" fmla="*/ 2762250 w 5372100"/>
              <a:gd name="connsiteY38" fmla="*/ 0 h 4686300"/>
              <a:gd name="connsiteX0" fmla="*/ 2762250 w 5372100"/>
              <a:gd name="connsiteY0" fmla="*/ 0 h 4686300"/>
              <a:gd name="connsiteX1" fmla="*/ 2590800 w 5372100"/>
              <a:gd name="connsiteY1" fmla="*/ 723900 h 4686300"/>
              <a:gd name="connsiteX2" fmla="*/ 2743200 w 5372100"/>
              <a:gd name="connsiteY2" fmla="*/ 1047750 h 4686300"/>
              <a:gd name="connsiteX3" fmla="*/ 3505200 w 5372100"/>
              <a:gd name="connsiteY3" fmla="*/ 1409700 h 4686300"/>
              <a:gd name="connsiteX4" fmla="*/ 4476750 w 5372100"/>
              <a:gd name="connsiteY4" fmla="*/ 2628900 h 4686300"/>
              <a:gd name="connsiteX5" fmla="*/ 4838700 w 5372100"/>
              <a:gd name="connsiteY5" fmla="*/ 3181350 h 4686300"/>
              <a:gd name="connsiteX6" fmla="*/ 5010150 w 5372100"/>
              <a:gd name="connsiteY6" fmla="*/ 3848100 h 4686300"/>
              <a:gd name="connsiteX7" fmla="*/ 5181600 w 5372100"/>
              <a:gd name="connsiteY7" fmla="*/ 4552950 h 4686300"/>
              <a:gd name="connsiteX8" fmla="*/ 5372100 w 5372100"/>
              <a:gd name="connsiteY8" fmla="*/ 4686300 h 4686300"/>
              <a:gd name="connsiteX9" fmla="*/ 4972050 w 5372100"/>
              <a:gd name="connsiteY9" fmla="*/ 4686300 h 4686300"/>
              <a:gd name="connsiteX10" fmla="*/ 4953000 w 5372100"/>
              <a:gd name="connsiteY10" fmla="*/ 4419600 h 4686300"/>
              <a:gd name="connsiteX11" fmla="*/ 4838700 w 5372100"/>
              <a:gd name="connsiteY11" fmla="*/ 3962400 h 4686300"/>
              <a:gd name="connsiteX12" fmla="*/ 4724400 w 5372100"/>
              <a:gd name="connsiteY12" fmla="*/ 3352800 h 4686300"/>
              <a:gd name="connsiteX13" fmla="*/ 4343400 w 5372100"/>
              <a:gd name="connsiteY13" fmla="*/ 2647950 h 4686300"/>
              <a:gd name="connsiteX14" fmla="*/ 3686628 w 5372100"/>
              <a:gd name="connsiteY14" fmla="*/ 1797957 h 4686300"/>
              <a:gd name="connsiteX15" fmla="*/ 2590800 w 5372100"/>
              <a:gd name="connsiteY15" fmla="*/ 1104900 h 4686300"/>
              <a:gd name="connsiteX16" fmla="*/ 2228850 w 5372100"/>
              <a:gd name="connsiteY16" fmla="*/ 1181100 h 4686300"/>
              <a:gd name="connsiteX17" fmla="*/ 1885950 w 5372100"/>
              <a:gd name="connsiteY17" fmla="*/ 1162050 h 4686300"/>
              <a:gd name="connsiteX18" fmla="*/ 1543050 w 5372100"/>
              <a:gd name="connsiteY18" fmla="*/ 1504950 h 4686300"/>
              <a:gd name="connsiteX19" fmla="*/ 1733550 w 5372100"/>
              <a:gd name="connsiteY19" fmla="*/ 2038350 h 4686300"/>
              <a:gd name="connsiteX20" fmla="*/ 1771650 w 5372100"/>
              <a:gd name="connsiteY20" fmla="*/ 2419350 h 4686300"/>
              <a:gd name="connsiteX21" fmla="*/ 1143000 w 5372100"/>
              <a:gd name="connsiteY21" fmla="*/ 2647950 h 4686300"/>
              <a:gd name="connsiteX22" fmla="*/ 952500 w 5372100"/>
              <a:gd name="connsiteY22" fmla="*/ 3009900 h 4686300"/>
              <a:gd name="connsiteX23" fmla="*/ 457200 w 5372100"/>
              <a:gd name="connsiteY23" fmla="*/ 3276600 h 4686300"/>
              <a:gd name="connsiteX24" fmla="*/ 285750 w 5372100"/>
              <a:gd name="connsiteY24" fmla="*/ 3600450 h 4686300"/>
              <a:gd name="connsiteX25" fmla="*/ 38100 w 5372100"/>
              <a:gd name="connsiteY25" fmla="*/ 3886200 h 4686300"/>
              <a:gd name="connsiteX26" fmla="*/ 0 w 5372100"/>
              <a:gd name="connsiteY26" fmla="*/ 3638550 h 4686300"/>
              <a:gd name="connsiteX27" fmla="*/ 247650 w 5372100"/>
              <a:gd name="connsiteY27" fmla="*/ 3257550 h 4686300"/>
              <a:gd name="connsiteX28" fmla="*/ 628650 w 5372100"/>
              <a:gd name="connsiteY28" fmla="*/ 2895600 h 4686300"/>
              <a:gd name="connsiteX29" fmla="*/ 1066800 w 5372100"/>
              <a:gd name="connsiteY29" fmla="*/ 2667000 h 4686300"/>
              <a:gd name="connsiteX30" fmla="*/ 1543050 w 5372100"/>
              <a:gd name="connsiteY30" fmla="*/ 2419350 h 4686300"/>
              <a:gd name="connsiteX31" fmla="*/ 1504950 w 5372100"/>
              <a:gd name="connsiteY31" fmla="*/ 1981200 h 4686300"/>
              <a:gd name="connsiteX32" fmla="*/ 1390650 w 5372100"/>
              <a:gd name="connsiteY32" fmla="*/ 1676400 h 4686300"/>
              <a:gd name="connsiteX33" fmla="*/ 1543050 w 5372100"/>
              <a:gd name="connsiteY33" fmla="*/ 1200150 h 4686300"/>
              <a:gd name="connsiteX34" fmla="*/ 1847850 w 5372100"/>
              <a:gd name="connsiteY34" fmla="*/ 971550 h 4686300"/>
              <a:gd name="connsiteX35" fmla="*/ 2343150 w 5372100"/>
              <a:gd name="connsiteY35" fmla="*/ 933450 h 4686300"/>
              <a:gd name="connsiteX36" fmla="*/ 2419350 w 5372100"/>
              <a:gd name="connsiteY36" fmla="*/ 838200 h 4686300"/>
              <a:gd name="connsiteX37" fmla="*/ 2647950 w 5372100"/>
              <a:gd name="connsiteY37" fmla="*/ 0 h 4686300"/>
              <a:gd name="connsiteX38" fmla="*/ 2762250 w 5372100"/>
              <a:gd name="connsiteY38" fmla="*/ 0 h 4686300"/>
              <a:gd name="connsiteX0" fmla="*/ 2762250 w 5372100"/>
              <a:gd name="connsiteY0" fmla="*/ 0 h 4686300"/>
              <a:gd name="connsiteX1" fmla="*/ 2590800 w 5372100"/>
              <a:gd name="connsiteY1" fmla="*/ 723900 h 4686300"/>
              <a:gd name="connsiteX2" fmla="*/ 2743200 w 5372100"/>
              <a:gd name="connsiteY2" fmla="*/ 1047750 h 4686300"/>
              <a:gd name="connsiteX3" fmla="*/ 3505200 w 5372100"/>
              <a:gd name="connsiteY3" fmla="*/ 1409700 h 4686300"/>
              <a:gd name="connsiteX4" fmla="*/ 4476750 w 5372100"/>
              <a:gd name="connsiteY4" fmla="*/ 2628900 h 4686300"/>
              <a:gd name="connsiteX5" fmla="*/ 4838700 w 5372100"/>
              <a:gd name="connsiteY5" fmla="*/ 3181350 h 4686300"/>
              <a:gd name="connsiteX6" fmla="*/ 5010150 w 5372100"/>
              <a:gd name="connsiteY6" fmla="*/ 3848100 h 4686300"/>
              <a:gd name="connsiteX7" fmla="*/ 5181600 w 5372100"/>
              <a:gd name="connsiteY7" fmla="*/ 4552950 h 4686300"/>
              <a:gd name="connsiteX8" fmla="*/ 5372100 w 5372100"/>
              <a:gd name="connsiteY8" fmla="*/ 4686300 h 4686300"/>
              <a:gd name="connsiteX9" fmla="*/ 4972050 w 5372100"/>
              <a:gd name="connsiteY9" fmla="*/ 4686300 h 4686300"/>
              <a:gd name="connsiteX10" fmla="*/ 4953000 w 5372100"/>
              <a:gd name="connsiteY10" fmla="*/ 4419600 h 4686300"/>
              <a:gd name="connsiteX11" fmla="*/ 4838700 w 5372100"/>
              <a:gd name="connsiteY11" fmla="*/ 3962400 h 4686300"/>
              <a:gd name="connsiteX12" fmla="*/ 4724400 w 5372100"/>
              <a:gd name="connsiteY12" fmla="*/ 3352800 h 4686300"/>
              <a:gd name="connsiteX13" fmla="*/ 4343400 w 5372100"/>
              <a:gd name="connsiteY13" fmla="*/ 2647950 h 4686300"/>
              <a:gd name="connsiteX14" fmla="*/ 3686628 w 5372100"/>
              <a:gd name="connsiteY14" fmla="*/ 1797957 h 4686300"/>
              <a:gd name="connsiteX15" fmla="*/ 2590800 w 5372100"/>
              <a:gd name="connsiteY15" fmla="*/ 1104900 h 4686300"/>
              <a:gd name="connsiteX16" fmla="*/ 2228850 w 5372100"/>
              <a:gd name="connsiteY16" fmla="*/ 1181100 h 4686300"/>
              <a:gd name="connsiteX17" fmla="*/ 1885950 w 5372100"/>
              <a:gd name="connsiteY17" fmla="*/ 1162050 h 4686300"/>
              <a:gd name="connsiteX18" fmla="*/ 1543050 w 5372100"/>
              <a:gd name="connsiteY18" fmla="*/ 1504950 h 4686300"/>
              <a:gd name="connsiteX19" fmla="*/ 1733550 w 5372100"/>
              <a:gd name="connsiteY19" fmla="*/ 2038350 h 4686300"/>
              <a:gd name="connsiteX20" fmla="*/ 1771650 w 5372100"/>
              <a:gd name="connsiteY20" fmla="*/ 2419350 h 4686300"/>
              <a:gd name="connsiteX21" fmla="*/ 1143000 w 5372100"/>
              <a:gd name="connsiteY21" fmla="*/ 2647950 h 4686300"/>
              <a:gd name="connsiteX22" fmla="*/ 952500 w 5372100"/>
              <a:gd name="connsiteY22" fmla="*/ 3009900 h 4686300"/>
              <a:gd name="connsiteX23" fmla="*/ 457200 w 5372100"/>
              <a:gd name="connsiteY23" fmla="*/ 3276600 h 4686300"/>
              <a:gd name="connsiteX24" fmla="*/ 285750 w 5372100"/>
              <a:gd name="connsiteY24" fmla="*/ 3600450 h 4686300"/>
              <a:gd name="connsiteX25" fmla="*/ 38100 w 5372100"/>
              <a:gd name="connsiteY25" fmla="*/ 3886200 h 4686300"/>
              <a:gd name="connsiteX26" fmla="*/ 0 w 5372100"/>
              <a:gd name="connsiteY26" fmla="*/ 3638550 h 4686300"/>
              <a:gd name="connsiteX27" fmla="*/ 247650 w 5372100"/>
              <a:gd name="connsiteY27" fmla="*/ 3257550 h 4686300"/>
              <a:gd name="connsiteX28" fmla="*/ 628650 w 5372100"/>
              <a:gd name="connsiteY28" fmla="*/ 2895600 h 4686300"/>
              <a:gd name="connsiteX29" fmla="*/ 1066800 w 5372100"/>
              <a:gd name="connsiteY29" fmla="*/ 2667000 h 4686300"/>
              <a:gd name="connsiteX30" fmla="*/ 1543050 w 5372100"/>
              <a:gd name="connsiteY30" fmla="*/ 2419350 h 4686300"/>
              <a:gd name="connsiteX31" fmla="*/ 1504950 w 5372100"/>
              <a:gd name="connsiteY31" fmla="*/ 1981200 h 4686300"/>
              <a:gd name="connsiteX32" fmla="*/ 1390650 w 5372100"/>
              <a:gd name="connsiteY32" fmla="*/ 1676400 h 4686300"/>
              <a:gd name="connsiteX33" fmla="*/ 1543050 w 5372100"/>
              <a:gd name="connsiteY33" fmla="*/ 1200150 h 4686300"/>
              <a:gd name="connsiteX34" fmla="*/ 1847850 w 5372100"/>
              <a:gd name="connsiteY34" fmla="*/ 971550 h 4686300"/>
              <a:gd name="connsiteX35" fmla="*/ 2343150 w 5372100"/>
              <a:gd name="connsiteY35" fmla="*/ 933450 h 4686300"/>
              <a:gd name="connsiteX36" fmla="*/ 2419350 w 5372100"/>
              <a:gd name="connsiteY36" fmla="*/ 838200 h 4686300"/>
              <a:gd name="connsiteX37" fmla="*/ 2647950 w 5372100"/>
              <a:gd name="connsiteY37" fmla="*/ 0 h 4686300"/>
              <a:gd name="connsiteX38" fmla="*/ 2762250 w 5372100"/>
              <a:gd name="connsiteY38" fmla="*/ 0 h 4686300"/>
              <a:gd name="connsiteX0" fmla="*/ 2762250 w 5372100"/>
              <a:gd name="connsiteY0" fmla="*/ 0 h 4686300"/>
              <a:gd name="connsiteX1" fmla="*/ 2590800 w 5372100"/>
              <a:gd name="connsiteY1" fmla="*/ 723900 h 4686300"/>
              <a:gd name="connsiteX2" fmla="*/ 2743200 w 5372100"/>
              <a:gd name="connsiteY2" fmla="*/ 1047750 h 4686300"/>
              <a:gd name="connsiteX3" fmla="*/ 3505200 w 5372100"/>
              <a:gd name="connsiteY3" fmla="*/ 1409700 h 4686300"/>
              <a:gd name="connsiteX4" fmla="*/ 4476750 w 5372100"/>
              <a:gd name="connsiteY4" fmla="*/ 2628900 h 4686300"/>
              <a:gd name="connsiteX5" fmla="*/ 4838700 w 5372100"/>
              <a:gd name="connsiteY5" fmla="*/ 3181350 h 4686300"/>
              <a:gd name="connsiteX6" fmla="*/ 5010150 w 5372100"/>
              <a:gd name="connsiteY6" fmla="*/ 3848100 h 4686300"/>
              <a:gd name="connsiteX7" fmla="*/ 5181600 w 5372100"/>
              <a:gd name="connsiteY7" fmla="*/ 4552950 h 4686300"/>
              <a:gd name="connsiteX8" fmla="*/ 5372100 w 5372100"/>
              <a:gd name="connsiteY8" fmla="*/ 4686300 h 4686300"/>
              <a:gd name="connsiteX9" fmla="*/ 4972050 w 5372100"/>
              <a:gd name="connsiteY9" fmla="*/ 4686300 h 4686300"/>
              <a:gd name="connsiteX10" fmla="*/ 4953000 w 5372100"/>
              <a:gd name="connsiteY10" fmla="*/ 4419600 h 4686300"/>
              <a:gd name="connsiteX11" fmla="*/ 4838700 w 5372100"/>
              <a:gd name="connsiteY11" fmla="*/ 3962400 h 4686300"/>
              <a:gd name="connsiteX12" fmla="*/ 4724400 w 5372100"/>
              <a:gd name="connsiteY12" fmla="*/ 3352800 h 4686300"/>
              <a:gd name="connsiteX13" fmla="*/ 4343400 w 5372100"/>
              <a:gd name="connsiteY13" fmla="*/ 2647950 h 4686300"/>
              <a:gd name="connsiteX14" fmla="*/ 3686628 w 5372100"/>
              <a:gd name="connsiteY14" fmla="*/ 1797957 h 4686300"/>
              <a:gd name="connsiteX15" fmla="*/ 2590800 w 5372100"/>
              <a:gd name="connsiteY15" fmla="*/ 1104900 h 4686300"/>
              <a:gd name="connsiteX16" fmla="*/ 2228850 w 5372100"/>
              <a:gd name="connsiteY16" fmla="*/ 1181100 h 4686300"/>
              <a:gd name="connsiteX17" fmla="*/ 1885950 w 5372100"/>
              <a:gd name="connsiteY17" fmla="*/ 1162050 h 4686300"/>
              <a:gd name="connsiteX18" fmla="*/ 1543050 w 5372100"/>
              <a:gd name="connsiteY18" fmla="*/ 1504950 h 4686300"/>
              <a:gd name="connsiteX19" fmla="*/ 1733550 w 5372100"/>
              <a:gd name="connsiteY19" fmla="*/ 2038350 h 4686300"/>
              <a:gd name="connsiteX20" fmla="*/ 1771650 w 5372100"/>
              <a:gd name="connsiteY20" fmla="*/ 2419350 h 4686300"/>
              <a:gd name="connsiteX21" fmla="*/ 1143000 w 5372100"/>
              <a:gd name="connsiteY21" fmla="*/ 2647950 h 4686300"/>
              <a:gd name="connsiteX22" fmla="*/ 952500 w 5372100"/>
              <a:gd name="connsiteY22" fmla="*/ 3009900 h 4686300"/>
              <a:gd name="connsiteX23" fmla="*/ 457200 w 5372100"/>
              <a:gd name="connsiteY23" fmla="*/ 3276600 h 4686300"/>
              <a:gd name="connsiteX24" fmla="*/ 285750 w 5372100"/>
              <a:gd name="connsiteY24" fmla="*/ 3600450 h 4686300"/>
              <a:gd name="connsiteX25" fmla="*/ 38100 w 5372100"/>
              <a:gd name="connsiteY25" fmla="*/ 3886200 h 4686300"/>
              <a:gd name="connsiteX26" fmla="*/ 0 w 5372100"/>
              <a:gd name="connsiteY26" fmla="*/ 3638550 h 4686300"/>
              <a:gd name="connsiteX27" fmla="*/ 247650 w 5372100"/>
              <a:gd name="connsiteY27" fmla="*/ 3257550 h 4686300"/>
              <a:gd name="connsiteX28" fmla="*/ 628650 w 5372100"/>
              <a:gd name="connsiteY28" fmla="*/ 2895600 h 4686300"/>
              <a:gd name="connsiteX29" fmla="*/ 1066800 w 5372100"/>
              <a:gd name="connsiteY29" fmla="*/ 2667000 h 4686300"/>
              <a:gd name="connsiteX30" fmla="*/ 1543050 w 5372100"/>
              <a:gd name="connsiteY30" fmla="*/ 2419350 h 4686300"/>
              <a:gd name="connsiteX31" fmla="*/ 1504950 w 5372100"/>
              <a:gd name="connsiteY31" fmla="*/ 1981200 h 4686300"/>
              <a:gd name="connsiteX32" fmla="*/ 1390650 w 5372100"/>
              <a:gd name="connsiteY32" fmla="*/ 1676400 h 4686300"/>
              <a:gd name="connsiteX33" fmla="*/ 1543050 w 5372100"/>
              <a:gd name="connsiteY33" fmla="*/ 1200150 h 4686300"/>
              <a:gd name="connsiteX34" fmla="*/ 1847850 w 5372100"/>
              <a:gd name="connsiteY34" fmla="*/ 971550 h 4686300"/>
              <a:gd name="connsiteX35" fmla="*/ 2343150 w 5372100"/>
              <a:gd name="connsiteY35" fmla="*/ 933450 h 4686300"/>
              <a:gd name="connsiteX36" fmla="*/ 2419350 w 5372100"/>
              <a:gd name="connsiteY36" fmla="*/ 838200 h 4686300"/>
              <a:gd name="connsiteX37" fmla="*/ 2647950 w 5372100"/>
              <a:gd name="connsiteY37" fmla="*/ 0 h 4686300"/>
              <a:gd name="connsiteX38" fmla="*/ 2762250 w 5372100"/>
              <a:gd name="connsiteY38" fmla="*/ 0 h 4686300"/>
              <a:gd name="connsiteX0" fmla="*/ 2762250 w 5372100"/>
              <a:gd name="connsiteY0" fmla="*/ 0 h 4686300"/>
              <a:gd name="connsiteX1" fmla="*/ 2590800 w 5372100"/>
              <a:gd name="connsiteY1" fmla="*/ 723900 h 4686300"/>
              <a:gd name="connsiteX2" fmla="*/ 2743200 w 5372100"/>
              <a:gd name="connsiteY2" fmla="*/ 1047750 h 4686300"/>
              <a:gd name="connsiteX3" fmla="*/ 3505200 w 5372100"/>
              <a:gd name="connsiteY3" fmla="*/ 1409700 h 4686300"/>
              <a:gd name="connsiteX4" fmla="*/ 4476750 w 5372100"/>
              <a:gd name="connsiteY4" fmla="*/ 2628900 h 4686300"/>
              <a:gd name="connsiteX5" fmla="*/ 4838700 w 5372100"/>
              <a:gd name="connsiteY5" fmla="*/ 3181350 h 4686300"/>
              <a:gd name="connsiteX6" fmla="*/ 5010150 w 5372100"/>
              <a:gd name="connsiteY6" fmla="*/ 3848100 h 4686300"/>
              <a:gd name="connsiteX7" fmla="*/ 5181600 w 5372100"/>
              <a:gd name="connsiteY7" fmla="*/ 4552950 h 4686300"/>
              <a:gd name="connsiteX8" fmla="*/ 5372100 w 5372100"/>
              <a:gd name="connsiteY8" fmla="*/ 4686300 h 4686300"/>
              <a:gd name="connsiteX9" fmla="*/ 4972050 w 5372100"/>
              <a:gd name="connsiteY9" fmla="*/ 4686300 h 4686300"/>
              <a:gd name="connsiteX10" fmla="*/ 4953000 w 5372100"/>
              <a:gd name="connsiteY10" fmla="*/ 4419600 h 4686300"/>
              <a:gd name="connsiteX11" fmla="*/ 4838700 w 5372100"/>
              <a:gd name="connsiteY11" fmla="*/ 3962400 h 4686300"/>
              <a:gd name="connsiteX12" fmla="*/ 4608286 w 5372100"/>
              <a:gd name="connsiteY12" fmla="*/ 3381828 h 4686300"/>
              <a:gd name="connsiteX13" fmla="*/ 4343400 w 5372100"/>
              <a:gd name="connsiteY13" fmla="*/ 2647950 h 4686300"/>
              <a:gd name="connsiteX14" fmla="*/ 3686628 w 5372100"/>
              <a:gd name="connsiteY14" fmla="*/ 1797957 h 4686300"/>
              <a:gd name="connsiteX15" fmla="*/ 2590800 w 5372100"/>
              <a:gd name="connsiteY15" fmla="*/ 1104900 h 4686300"/>
              <a:gd name="connsiteX16" fmla="*/ 2228850 w 5372100"/>
              <a:gd name="connsiteY16" fmla="*/ 1181100 h 4686300"/>
              <a:gd name="connsiteX17" fmla="*/ 1885950 w 5372100"/>
              <a:gd name="connsiteY17" fmla="*/ 1162050 h 4686300"/>
              <a:gd name="connsiteX18" fmla="*/ 1543050 w 5372100"/>
              <a:gd name="connsiteY18" fmla="*/ 1504950 h 4686300"/>
              <a:gd name="connsiteX19" fmla="*/ 1733550 w 5372100"/>
              <a:gd name="connsiteY19" fmla="*/ 2038350 h 4686300"/>
              <a:gd name="connsiteX20" fmla="*/ 1771650 w 5372100"/>
              <a:gd name="connsiteY20" fmla="*/ 2419350 h 4686300"/>
              <a:gd name="connsiteX21" fmla="*/ 1143000 w 5372100"/>
              <a:gd name="connsiteY21" fmla="*/ 2647950 h 4686300"/>
              <a:gd name="connsiteX22" fmla="*/ 952500 w 5372100"/>
              <a:gd name="connsiteY22" fmla="*/ 3009900 h 4686300"/>
              <a:gd name="connsiteX23" fmla="*/ 457200 w 5372100"/>
              <a:gd name="connsiteY23" fmla="*/ 3276600 h 4686300"/>
              <a:gd name="connsiteX24" fmla="*/ 285750 w 5372100"/>
              <a:gd name="connsiteY24" fmla="*/ 3600450 h 4686300"/>
              <a:gd name="connsiteX25" fmla="*/ 38100 w 5372100"/>
              <a:gd name="connsiteY25" fmla="*/ 3886200 h 4686300"/>
              <a:gd name="connsiteX26" fmla="*/ 0 w 5372100"/>
              <a:gd name="connsiteY26" fmla="*/ 3638550 h 4686300"/>
              <a:gd name="connsiteX27" fmla="*/ 247650 w 5372100"/>
              <a:gd name="connsiteY27" fmla="*/ 3257550 h 4686300"/>
              <a:gd name="connsiteX28" fmla="*/ 628650 w 5372100"/>
              <a:gd name="connsiteY28" fmla="*/ 2895600 h 4686300"/>
              <a:gd name="connsiteX29" fmla="*/ 1066800 w 5372100"/>
              <a:gd name="connsiteY29" fmla="*/ 2667000 h 4686300"/>
              <a:gd name="connsiteX30" fmla="*/ 1543050 w 5372100"/>
              <a:gd name="connsiteY30" fmla="*/ 2419350 h 4686300"/>
              <a:gd name="connsiteX31" fmla="*/ 1504950 w 5372100"/>
              <a:gd name="connsiteY31" fmla="*/ 1981200 h 4686300"/>
              <a:gd name="connsiteX32" fmla="*/ 1390650 w 5372100"/>
              <a:gd name="connsiteY32" fmla="*/ 1676400 h 4686300"/>
              <a:gd name="connsiteX33" fmla="*/ 1543050 w 5372100"/>
              <a:gd name="connsiteY33" fmla="*/ 1200150 h 4686300"/>
              <a:gd name="connsiteX34" fmla="*/ 1847850 w 5372100"/>
              <a:gd name="connsiteY34" fmla="*/ 971550 h 4686300"/>
              <a:gd name="connsiteX35" fmla="*/ 2343150 w 5372100"/>
              <a:gd name="connsiteY35" fmla="*/ 933450 h 4686300"/>
              <a:gd name="connsiteX36" fmla="*/ 2419350 w 5372100"/>
              <a:gd name="connsiteY36" fmla="*/ 838200 h 4686300"/>
              <a:gd name="connsiteX37" fmla="*/ 2647950 w 5372100"/>
              <a:gd name="connsiteY37" fmla="*/ 0 h 4686300"/>
              <a:gd name="connsiteX38" fmla="*/ 2762250 w 5372100"/>
              <a:gd name="connsiteY38" fmla="*/ 0 h 4686300"/>
              <a:gd name="connsiteX0" fmla="*/ 2762250 w 5372100"/>
              <a:gd name="connsiteY0" fmla="*/ 0 h 4686300"/>
              <a:gd name="connsiteX1" fmla="*/ 2590800 w 5372100"/>
              <a:gd name="connsiteY1" fmla="*/ 723900 h 4686300"/>
              <a:gd name="connsiteX2" fmla="*/ 2743200 w 5372100"/>
              <a:gd name="connsiteY2" fmla="*/ 1047750 h 4686300"/>
              <a:gd name="connsiteX3" fmla="*/ 3505200 w 5372100"/>
              <a:gd name="connsiteY3" fmla="*/ 1409700 h 4686300"/>
              <a:gd name="connsiteX4" fmla="*/ 4476750 w 5372100"/>
              <a:gd name="connsiteY4" fmla="*/ 2628900 h 4686300"/>
              <a:gd name="connsiteX5" fmla="*/ 4838700 w 5372100"/>
              <a:gd name="connsiteY5" fmla="*/ 3181350 h 4686300"/>
              <a:gd name="connsiteX6" fmla="*/ 5010150 w 5372100"/>
              <a:gd name="connsiteY6" fmla="*/ 3848100 h 4686300"/>
              <a:gd name="connsiteX7" fmla="*/ 5181600 w 5372100"/>
              <a:gd name="connsiteY7" fmla="*/ 4552950 h 4686300"/>
              <a:gd name="connsiteX8" fmla="*/ 5372100 w 5372100"/>
              <a:gd name="connsiteY8" fmla="*/ 4686300 h 4686300"/>
              <a:gd name="connsiteX9" fmla="*/ 4972050 w 5372100"/>
              <a:gd name="connsiteY9" fmla="*/ 4686300 h 4686300"/>
              <a:gd name="connsiteX10" fmla="*/ 4953000 w 5372100"/>
              <a:gd name="connsiteY10" fmla="*/ 4419600 h 4686300"/>
              <a:gd name="connsiteX11" fmla="*/ 4838700 w 5372100"/>
              <a:gd name="connsiteY11" fmla="*/ 3962400 h 4686300"/>
              <a:gd name="connsiteX12" fmla="*/ 4608286 w 5372100"/>
              <a:gd name="connsiteY12" fmla="*/ 3381828 h 4686300"/>
              <a:gd name="connsiteX13" fmla="*/ 4140200 w 5372100"/>
              <a:gd name="connsiteY13" fmla="*/ 2807607 h 4686300"/>
              <a:gd name="connsiteX14" fmla="*/ 3686628 w 5372100"/>
              <a:gd name="connsiteY14" fmla="*/ 1797957 h 4686300"/>
              <a:gd name="connsiteX15" fmla="*/ 2590800 w 5372100"/>
              <a:gd name="connsiteY15" fmla="*/ 1104900 h 4686300"/>
              <a:gd name="connsiteX16" fmla="*/ 2228850 w 5372100"/>
              <a:gd name="connsiteY16" fmla="*/ 1181100 h 4686300"/>
              <a:gd name="connsiteX17" fmla="*/ 1885950 w 5372100"/>
              <a:gd name="connsiteY17" fmla="*/ 1162050 h 4686300"/>
              <a:gd name="connsiteX18" fmla="*/ 1543050 w 5372100"/>
              <a:gd name="connsiteY18" fmla="*/ 1504950 h 4686300"/>
              <a:gd name="connsiteX19" fmla="*/ 1733550 w 5372100"/>
              <a:gd name="connsiteY19" fmla="*/ 2038350 h 4686300"/>
              <a:gd name="connsiteX20" fmla="*/ 1771650 w 5372100"/>
              <a:gd name="connsiteY20" fmla="*/ 2419350 h 4686300"/>
              <a:gd name="connsiteX21" fmla="*/ 1143000 w 5372100"/>
              <a:gd name="connsiteY21" fmla="*/ 2647950 h 4686300"/>
              <a:gd name="connsiteX22" fmla="*/ 952500 w 5372100"/>
              <a:gd name="connsiteY22" fmla="*/ 3009900 h 4686300"/>
              <a:gd name="connsiteX23" fmla="*/ 457200 w 5372100"/>
              <a:gd name="connsiteY23" fmla="*/ 3276600 h 4686300"/>
              <a:gd name="connsiteX24" fmla="*/ 285750 w 5372100"/>
              <a:gd name="connsiteY24" fmla="*/ 3600450 h 4686300"/>
              <a:gd name="connsiteX25" fmla="*/ 38100 w 5372100"/>
              <a:gd name="connsiteY25" fmla="*/ 3886200 h 4686300"/>
              <a:gd name="connsiteX26" fmla="*/ 0 w 5372100"/>
              <a:gd name="connsiteY26" fmla="*/ 3638550 h 4686300"/>
              <a:gd name="connsiteX27" fmla="*/ 247650 w 5372100"/>
              <a:gd name="connsiteY27" fmla="*/ 3257550 h 4686300"/>
              <a:gd name="connsiteX28" fmla="*/ 628650 w 5372100"/>
              <a:gd name="connsiteY28" fmla="*/ 2895600 h 4686300"/>
              <a:gd name="connsiteX29" fmla="*/ 1066800 w 5372100"/>
              <a:gd name="connsiteY29" fmla="*/ 2667000 h 4686300"/>
              <a:gd name="connsiteX30" fmla="*/ 1543050 w 5372100"/>
              <a:gd name="connsiteY30" fmla="*/ 2419350 h 4686300"/>
              <a:gd name="connsiteX31" fmla="*/ 1504950 w 5372100"/>
              <a:gd name="connsiteY31" fmla="*/ 1981200 h 4686300"/>
              <a:gd name="connsiteX32" fmla="*/ 1390650 w 5372100"/>
              <a:gd name="connsiteY32" fmla="*/ 1676400 h 4686300"/>
              <a:gd name="connsiteX33" fmla="*/ 1543050 w 5372100"/>
              <a:gd name="connsiteY33" fmla="*/ 1200150 h 4686300"/>
              <a:gd name="connsiteX34" fmla="*/ 1847850 w 5372100"/>
              <a:gd name="connsiteY34" fmla="*/ 971550 h 4686300"/>
              <a:gd name="connsiteX35" fmla="*/ 2343150 w 5372100"/>
              <a:gd name="connsiteY35" fmla="*/ 933450 h 4686300"/>
              <a:gd name="connsiteX36" fmla="*/ 2419350 w 5372100"/>
              <a:gd name="connsiteY36" fmla="*/ 838200 h 4686300"/>
              <a:gd name="connsiteX37" fmla="*/ 2647950 w 5372100"/>
              <a:gd name="connsiteY37" fmla="*/ 0 h 4686300"/>
              <a:gd name="connsiteX38" fmla="*/ 2762250 w 5372100"/>
              <a:gd name="connsiteY38" fmla="*/ 0 h 4686300"/>
              <a:gd name="connsiteX0" fmla="*/ 2762250 w 5372100"/>
              <a:gd name="connsiteY0" fmla="*/ 0 h 4686300"/>
              <a:gd name="connsiteX1" fmla="*/ 2590800 w 5372100"/>
              <a:gd name="connsiteY1" fmla="*/ 723900 h 4686300"/>
              <a:gd name="connsiteX2" fmla="*/ 2743200 w 5372100"/>
              <a:gd name="connsiteY2" fmla="*/ 1047750 h 4686300"/>
              <a:gd name="connsiteX3" fmla="*/ 3505200 w 5372100"/>
              <a:gd name="connsiteY3" fmla="*/ 1409700 h 4686300"/>
              <a:gd name="connsiteX4" fmla="*/ 4230007 w 5372100"/>
              <a:gd name="connsiteY4" fmla="*/ 2745014 h 4686300"/>
              <a:gd name="connsiteX5" fmla="*/ 4838700 w 5372100"/>
              <a:gd name="connsiteY5" fmla="*/ 3181350 h 4686300"/>
              <a:gd name="connsiteX6" fmla="*/ 5010150 w 5372100"/>
              <a:gd name="connsiteY6" fmla="*/ 3848100 h 4686300"/>
              <a:gd name="connsiteX7" fmla="*/ 5181600 w 5372100"/>
              <a:gd name="connsiteY7" fmla="*/ 4552950 h 4686300"/>
              <a:gd name="connsiteX8" fmla="*/ 5372100 w 5372100"/>
              <a:gd name="connsiteY8" fmla="*/ 4686300 h 4686300"/>
              <a:gd name="connsiteX9" fmla="*/ 4972050 w 5372100"/>
              <a:gd name="connsiteY9" fmla="*/ 4686300 h 4686300"/>
              <a:gd name="connsiteX10" fmla="*/ 4953000 w 5372100"/>
              <a:gd name="connsiteY10" fmla="*/ 4419600 h 4686300"/>
              <a:gd name="connsiteX11" fmla="*/ 4838700 w 5372100"/>
              <a:gd name="connsiteY11" fmla="*/ 3962400 h 4686300"/>
              <a:gd name="connsiteX12" fmla="*/ 4608286 w 5372100"/>
              <a:gd name="connsiteY12" fmla="*/ 3381828 h 4686300"/>
              <a:gd name="connsiteX13" fmla="*/ 4140200 w 5372100"/>
              <a:gd name="connsiteY13" fmla="*/ 2807607 h 4686300"/>
              <a:gd name="connsiteX14" fmla="*/ 3686628 w 5372100"/>
              <a:gd name="connsiteY14" fmla="*/ 1797957 h 4686300"/>
              <a:gd name="connsiteX15" fmla="*/ 2590800 w 5372100"/>
              <a:gd name="connsiteY15" fmla="*/ 1104900 h 4686300"/>
              <a:gd name="connsiteX16" fmla="*/ 2228850 w 5372100"/>
              <a:gd name="connsiteY16" fmla="*/ 1181100 h 4686300"/>
              <a:gd name="connsiteX17" fmla="*/ 1885950 w 5372100"/>
              <a:gd name="connsiteY17" fmla="*/ 1162050 h 4686300"/>
              <a:gd name="connsiteX18" fmla="*/ 1543050 w 5372100"/>
              <a:gd name="connsiteY18" fmla="*/ 1504950 h 4686300"/>
              <a:gd name="connsiteX19" fmla="*/ 1733550 w 5372100"/>
              <a:gd name="connsiteY19" fmla="*/ 2038350 h 4686300"/>
              <a:gd name="connsiteX20" fmla="*/ 1771650 w 5372100"/>
              <a:gd name="connsiteY20" fmla="*/ 2419350 h 4686300"/>
              <a:gd name="connsiteX21" fmla="*/ 1143000 w 5372100"/>
              <a:gd name="connsiteY21" fmla="*/ 2647950 h 4686300"/>
              <a:gd name="connsiteX22" fmla="*/ 952500 w 5372100"/>
              <a:gd name="connsiteY22" fmla="*/ 3009900 h 4686300"/>
              <a:gd name="connsiteX23" fmla="*/ 457200 w 5372100"/>
              <a:gd name="connsiteY23" fmla="*/ 3276600 h 4686300"/>
              <a:gd name="connsiteX24" fmla="*/ 285750 w 5372100"/>
              <a:gd name="connsiteY24" fmla="*/ 3600450 h 4686300"/>
              <a:gd name="connsiteX25" fmla="*/ 38100 w 5372100"/>
              <a:gd name="connsiteY25" fmla="*/ 3886200 h 4686300"/>
              <a:gd name="connsiteX26" fmla="*/ 0 w 5372100"/>
              <a:gd name="connsiteY26" fmla="*/ 3638550 h 4686300"/>
              <a:gd name="connsiteX27" fmla="*/ 247650 w 5372100"/>
              <a:gd name="connsiteY27" fmla="*/ 3257550 h 4686300"/>
              <a:gd name="connsiteX28" fmla="*/ 628650 w 5372100"/>
              <a:gd name="connsiteY28" fmla="*/ 2895600 h 4686300"/>
              <a:gd name="connsiteX29" fmla="*/ 1066800 w 5372100"/>
              <a:gd name="connsiteY29" fmla="*/ 2667000 h 4686300"/>
              <a:gd name="connsiteX30" fmla="*/ 1543050 w 5372100"/>
              <a:gd name="connsiteY30" fmla="*/ 2419350 h 4686300"/>
              <a:gd name="connsiteX31" fmla="*/ 1504950 w 5372100"/>
              <a:gd name="connsiteY31" fmla="*/ 1981200 h 4686300"/>
              <a:gd name="connsiteX32" fmla="*/ 1390650 w 5372100"/>
              <a:gd name="connsiteY32" fmla="*/ 1676400 h 4686300"/>
              <a:gd name="connsiteX33" fmla="*/ 1543050 w 5372100"/>
              <a:gd name="connsiteY33" fmla="*/ 1200150 h 4686300"/>
              <a:gd name="connsiteX34" fmla="*/ 1847850 w 5372100"/>
              <a:gd name="connsiteY34" fmla="*/ 971550 h 4686300"/>
              <a:gd name="connsiteX35" fmla="*/ 2343150 w 5372100"/>
              <a:gd name="connsiteY35" fmla="*/ 933450 h 4686300"/>
              <a:gd name="connsiteX36" fmla="*/ 2419350 w 5372100"/>
              <a:gd name="connsiteY36" fmla="*/ 838200 h 4686300"/>
              <a:gd name="connsiteX37" fmla="*/ 2647950 w 5372100"/>
              <a:gd name="connsiteY37" fmla="*/ 0 h 4686300"/>
              <a:gd name="connsiteX38" fmla="*/ 2762250 w 5372100"/>
              <a:gd name="connsiteY38" fmla="*/ 0 h 4686300"/>
              <a:gd name="connsiteX0" fmla="*/ 2762250 w 5372100"/>
              <a:gd name="connsiteY0" fmla="*/ 0 h 4686300"/>
              <a:gd name="connsiteX1" fmla="*/ 2590800 w 5372100"/>
              <a:gd name="connsiteY1" fmla="*/ 723900 h 4686300"/>
              <a:gd name="connsiteX2" fmla="*/ 2743200 w 5372100"/>
              <a:gd name="connsiteY2" fmla="*/ 1047750 h 4686300"/>
              <a:gd name="connsiteX3" fmla="*/ 3505200 w 5372100"/>
              <a:gd name="connsiteY3" fmla="*/ 1409700 h 4686300"/>
              <a:gd name="connsiteX4" fmla="*/ 4230007 w 5372100"/>
              <a:gd name="connsiteY4" fmla="*/ 2745014 h 4686300"/>
              <a:gd name="connsiteX5" fmla="*/ 4838700 w 5372100"/>
              <a:gd name="connsiteY5" fmla="*/ 3181350 h 4686300"/>
              <a:gd name="connsiteX6" fmla="*/ 5010150 w 5372100"/>
              <a:gd name="connsiteY6" fmla="*/ 3848100 h 4686300"/>
              <a:gd name="connsiteX7" fmla="*/ 5181600 w 5372100"/>
              <a:gd name="connsiteY7" fmla="*/ 4552950 h 4686300"/>
              <a:gd name="connsiteX8" fmla="*/ 5372100 w 5372100"/>
              <a:gd name="connsiteY8" fmla="*/ 4686300 h 4686300"/>
              <a:gd name="connsiteX9" fmla="*/ 4972050 w 5372100"/>
              <a:gd name="connsiteY9" fmla="*/ 4686300 h 4686300"/>
              <a:gd name="connsiteX10" fmla="*/ 4953000 w 5372100"/>
              <a:gd name="connsiteY10" fmla="*/ 4419600 h 4686300"/>
              <a:gd name="connsiteX11" fmla="*/ 4838700 w 5372100"/>
              <a:gd name="connsiteY11" fmla="*/ 3962400 h 4686300"/>
              <a:gd name="connsiteX12" fmla="*/ 4608286 w 5372100"/>
              <a:gd name="connsiteY12" fmla="*/ 3381828 h 4686300"/>
              <a:gd name="connsiteX13" fmla="*/ 4140200 w 5372100"/>
              <a:gd name="connsiteY13" fmla="*/ 2807607 h 4686300"/>
              <a:gd name="connsiteX14" fmla="*/ 3686628 w 5372100"/>
              <a:gd name="connsiteY14" fmla="*/ 1797957 h 4686300"/>
              <a:gd name="connsiteX15" fmla="*/ 2590800 w 5372100"/>
              <a:gd name="connsiteY15" fmla="*/ 1104900 h 4686300"/>
              <a:gd name="connsiteX16" fmla="*/ 2228850 w 5372100"/>
              <a:gd name="connsiteY16" fmla="*/ 1181100 h 4686300"/>
              <a:gd name="connsiteX17" fmla="*/ 1885950 w 5372100"/>
              <a:gd name="connsiteY17" fmla="*/ 1162050 h 4686300"/>
              <a:gd name="connsiteX18" fmla="*/ 1543050 w 5372100"/>
              <a:gd name="connsiteY18" fmla="*/ 1504950 h 4686300"/>
              <a:gd name="connsiteX19" fmla="*/ 1733550 w 5372100"/>
              <a:gd name="connsiteY19" fmla="*/ 2038350 h 4686300"/>
              <a:gd name="connsiteX20" fmla="*/ 1771650 w 5372100"/>
              <a:gd name="connsiteY20" fmla="*/ 2419350 h 4686300"/>
              <a:gd name="connsiteX21" fmla="*/ 1143000 w 5372100"/>
              <a:gd name="connsiteY21" fmla="*/ 2647950 h 4686300"/>
              <a:gd name="connsiteX22" fmla="*/ 952500 w 5372100"/>
              <a:gd name="connsiteY22" fmla="*/ 3009900 h 4686300"/>
              <a:gd name="connsiteX23" fmla="*/ 457200 w 5372100"/>
              <a:gd name="connsiteY23" fmla="*/ 3276600 h 4686300"/>
              <a:gd name="connsiteX24" fmla="*/ 285750 w 5372100"/>
              <a:gd name="connsiteY24" fmla="*/ 3600450 h 4686300"/>
              <a:gd name="connsiteX25" fmla="*/ 38100 w 5372100"/>
              <a:gd name="connsiteY25" fmla="*/ 3886200 h 4686300"/>
              <a:gd name="connsiteX26" fmla="*/ 0 w 5372100"/>
              <a:gd name="connsiteY26" fmla="*/ 3638550 h 4686300"/>
              <a:gd name="connsiteX27" fmla="*/ 247650 w 5372100"/>
              <a:gd name="connsiteY27" fmla="*/ 3257550 h 4686300"/>
              <a:gd name="connsiteX28" fmla="*/ 628650 w 5372100"/>
              <a:gd name="connsiteY28" fmla="*/ 2895600 h 4686300"/>
              <a:gd name="connsiteX29" fmla="*/ 1066800 w 5372100"/>
              <a:gd name="connsiteY29" fmla="*/ 2667000 h 4686300"/>
              <a:gd name="connsiteX30" fmla="*/ 1543050 w 5372100"/>
              <a:gd name="connsiteY30" fmla="*/ 2419350 h 4686300"/>
              <a:gd name="connsiteX31" fmla="*/ 1504950 w 5372100"/>
              <a:gd name="connsiteY31" fmla="*/ 1981200 h 4686300"/>
              <a:gd name="connsiteX32" fmla="*/ 1390650 w 5372100"/>
              <a:gd name="connsiteY32" fmla="*/ 1676400 h 4686300"/>
              <a:gd name="connsiteX33" fmla="*/ 1543050 w 5372100"/>
              <a:gd name="connsiteY33" fmla="*/ 1200150 h 4686300"/>
              <a:gd name="connsiteX34" fmla="*/ 1847850 w 5372100"/>
              <a:gd name="connsiteY34" fmla="*/ 971550 h 4686300"/>
              <a:gd name="connsiteX35" fmla="*/ 2343150 w 5372100"/>
              <a:gd name="connsiteY35" fmla="*/ 933450 h 4686300"/>
              <a:gd name="connsiteX36" fmla="*/ 2419350 w 5372100"/>
              <a:gd name="connsiteY36" fmla="*/ 838200 h 4686300"/>
              <a:gd name="connsiteX37" fmla="*/ 2647950 w 5372100"/>
              <a:gd name="connsiteY37" fmla="*/ 0 h 4686300"/>
              <a:gd name="connsiteX38" fmla="*/ 2762250 w 5372100"/>
              <a:gd name="connsiteY38" fmla="*/ 0 h 4686300"/>
              <a:gd name="connsiteX0" fmla="*/ 2762250 w 5372100"/>
              <a:gd name="connsiteY0" fmla="*/ 0 h 4686300"/>
              <a:gd name="connsiteX1" fmla="*/ 2590800 w 5372100"/>
              <a:gd name="connsiteY1" fmla="*/ 723900 h 4686300"/>
              <a:gd name="connsiteX2" fmla="*/ 2743200 w 5372100"/>
              <a:gd name="connsiteY2" fmla="*/ 1047750 h 4686300"/>
              <a:gd name="connsiteX3" fmla="*/ 3505200 w 5372100"/>
              <a:gd name="connsiteY3" fmla="*/ 1409700 h 4686300"/>
              <a:gd name="connsiteX4" fmla="*/ 4230007 w 5372100"/>
              <a:gd name="connsiteY4" fmla="*/ 2745014 h 4686300"/>
              <a:gd name="connsiteX5" fmla="*/ 4838700 w 5372100"/>
              <a:gd name="connsiteY5" fmla="*/ 3181350 h 4686300"/>
              <a:gd name="connsiteX6" fmla="*/ 5010150 w 5372100"/>
              <a:gd name="connsiteY6" fmla="*/ 3848100 h 4686300"/>
              <a:gd name="connsiteX7" fmla="*/ 5181600 w 5372100"/>
              <a:gd name="connsiteY7" fmla="*/ 4552950 h 4686300"/>
              <a:gd name="connsiteX8" fmla="*/ 5372100 w 5372100"/>
              <a:gd name="connsiteY8" fmla="*/ 4686300 h 4686300"/>
              <a:gd name="connsiteX9" fmla="*/ 4972050 w 5372100"/>
              <a:gd name="connsiteY9" fmla="*/ 4686300 h 4686300"/>
              <a:gd name="connsiteX10" fmla="*/ 4953000 w 5372100"/>
              <a:gd name="connsiteY10" fmla="*/ 4419600 h 4686300"/>
              <a:gd name="connsiteX11" fmla="*/ 4838700 w 5372100"/>
              <a:gd name="connsiteY11" fmla="*/ 3962400 h 4686300"/>
              <a:gd name="connsiteX12" fmla="*/ 4608286 w 5372100"/>
              <a:gd name="connsiteY12" fmla="*/ 3381828 h 4686300"/>
              <a:gd name="connsiteX13" fmla="*/ 4140200 w 5372100"/>
              <a:gd name="connsiteY13" fmla="*/ 2807607 h 4686300"/>
              <a:gd name="connsiteX14" fmla="*/ 3686628 w 5372100"/>
              <a:gd name="connsiteY14" fmla="*/ 1797957 h 4686300"/>
              <a:gd name="connsiteX15" fmla="*/ 2590800 w 5372100"/>
              <a:gd name="connsiteY15" fmla="*/ 1104900 h 4686300"/>
              <a:gd name="connsiteX16" fmla="*/ 2228850 w 5372100"/>
              <a:gd name="connsiteY16" fmla="*/ 1181100 h 4686300"/>
              <a:gd name="connsiteX17" fmla="*/ 1885950 w 5372100"/>
              <a:gd name="connsiteY17" fmla="*/ 1162050 h 4686300"/>
              <a:gd name="connsiteX18" fmla="*/ 1543050 w 5372100"/>
              <a:gd name="connsiteY18" fmla="*/ 1504950 h 4686300"/>
              <a:gd name="connsiteX19" fmla="*/ 1733550 w 5372100"/>
              <a:gd name="connsiteY19" fmla="*/ 2038350 h 4686300"/>
              <a:gd name="connsiteX20" fmla="*/ 1771650 w 5372100"/>
              <a:gd name="connsiteY20" fmla="*/ 2419350 h 4686300"/>
              <a:gd name="connsiteX21" fmla="*/ 1143000 w 5372100"/>
              <a:gd name="connsiteY21" fmla="*/ 2647950 h 4686300"/>
              <a:gd name="connsiteX22" fmla="*/ 952500 w 5372100"/>
              <a:gd name="connsiteY22" fmla="*/ 3009900 h 4686300"/>
              <a:gd name="connsiteX23" fmla="*/ 457200 w 5372100"/>
              <a:gd name="connsiteY23" fmla="*/ 3276600 h 4686300"/>
              <a:gd name="connsiteX24" fmla="*/ 285750 w 5372100"/>
              <a:gd name="connsiteY24" fmla="*/ 3600450 h 4686300"/>
              <a:gd name="connsiteX25" fmla="*/ 38100 w 5372100"/>
              <a:gd name="connsiteY25" fmla="*/ 3886200 h 4686300"/>
              <a:gd name="connsiteX26" fmla="*/ 0 w 5372100"/>
              <a:gd name="connsiteY26" fmla="*/ 3638550 h 4686300"/>
              <a:gd name="connsiteX27" fmla="*/ 247650 w 5372100"/>
              <a:gd name="connsiteY27" fmla="*/ 3257550 h 4686300"/>
              <a:gd name="connsiteX28" fmla="*/ 628650 w 5372100"/>
              <a:gd name="connsiteY28" fmla="*/ 2895600 h 4686300"/>
              <a:gd name="connsiteX29" fmla="*/ 1066800 w 5372100"/>
              <a:gd name="connsiteY29" fmla="*/ 2667000 h 4686300"/>
              <a:gd name="connsiteX30" fmla="*/ 1543050 w 5372100"/>
              <a:gd name="connsiteY30" fmla="*/ 2419350 h 4686300"/>
              <a:gd name="connsiteX31" fmla="*/ 1504950 w 5372100"/>
              <a:gd name="connsiteY31" fmla="*/ 1981200 h 4686300"/>
              <a:gd name="connsiteX32" fmla="*/ 1390650 w 5372100"/>
              <a:gd name="connsiteY32" fmla="*/ 1676400 h 4686300"/>
              <a:gd name="connsiteX33" fmla="*/ 1543050 w 5372100"/>
              <a:gd name="connsiteY33" fmla="*/ 1200150 h 4686300"/>
              <a:gd name="connsiteX34" fmla="*/ 1847850 w 5372100"/>
              <a:gd name="connsiteY34" fmla="*/ 971550 h 4686300"/>
              <a:gd name="connsiteX35" fmla="*/ 2343150 w 5372100"/>
              <a:gd name="connsiteY35" fmla="*/ 933450 h 4686300"/>
              <a:gd name="connsiteX36" fmla="*/ 2419350 w 5372100"/>
              <a:gd name="connsiteY36" fmla="*/ 838200 h 4686300"/>
              <a:gd name="connsiteX37" fmla="*/ 2647950 w 5372100"/>
              <a:gd name="connsiteY37" fmla="*/ 0 h 4686300"/>
              <a:gd name="connsiteX38" fmla="*/ 2762250 w 5372100"/>
              <a:gd name="connsiteY38" fmla="*/ 0 h 4686300"/>
              <a:gd name="connsiteX0" fmla="*/ 2762250 w 5372100"/>
              <a:gd name="connsiteY0" fmla="*/ 0 h 4686300"/>
              <a:gd name="connsiteX1" fmla="*/ 2590800 w 5372100"/>
              <a:gd name="connsiteY1" fmla="*/ 723900 h 4686300"/>
              <a:gd name="connsiteX2" fmla="*/ 2743200 w 5372100"/>
              <a:gd name="connsiteY2" fmla="*/ 1047750 h 4686300"/>
              <a:gd name="connsiteX3" fmla="*/ 3505200 w 5372100"/>
              <a:gd name="connsiteY3" fmla="*/ 1409700 h 4686300"/>
              <a:gd name="connsiteX4" fmla="*/ 4230007 w 5372100"/>
              <a:gd name="connsiteY4" fmla="*/ 2745014 h 4686300"/>
              <a:gd name="connsiteX5" fmla="*/ 4853214 w 5372100"/>
              <a:gd name="connsiteY5" fmla="*/ 3515179 h 4686300"/>
              <a:gd name="connsiteX6" fmla="*/ 5010150 w 5372100"/>
              <a:gd name="connsiteY6" fmla="*/ 3848100 h 4686300"/>
              <a:gd name="connsiteX7" fmla="*/ 5181600 w 5372100"/>
              <a:gd name="connsiteY7" fmla="*/ 4552950 h 4686300"/>
              <a:gd name="connsiteX8" fmla="*/ 5372100 w 5372100"/>
              <a:gd name="connsiteY8" fmla="*/ 4686300 h 4686300"/>
              <a:gd name="connsiteX9" fmla="*/ 4972050 w 5372100"/>
              <a:gd name="connsiteY9" fmla="*/ 4686300 h 4686300"/>
              <a:gd name="connsiteX10" fmla="*/ 4953000 w 5372100"/>
              <a:gd name="connsiteY10" fmla="*/ 4419600 h 4686300"/>
              <a:gd name="connsiteX11" fmla="*/ 4838700 w 5372100"/>
              <a:gd name="connsiteY11" fmla="*/ 3962400 h 4686300"/>
              <a:gd name="connsiteX12" fmla="*/ 4608286 w 5372100"/>
              <a:gd name="connsiteY12" fmla="*/ 3381828 h 4686300"/>
              <a:gd name="connsiteX13" fmla="*/ 4140200 w 5372100"/>
              <a:gd name="connsiteY13" fmla="*/ 2807607 h 4686300"/>
              <a:gd name="connsiteX14" fmla="*/ 3686628 w 5372100"/>
              <a:gd name="connsiteY14" fmla="*/ 1797957 h 4686300"/>
              <a:gd name="connsiteX15" fmla="*/ 2590800 w 5372100"/>
              <a:gd name="connsiteY15" fmla="*/ 1104900 h 4686300"/>
              <a:gd name="connsiteX16" fmla="*/ 2228850 w 5372100"/>
              <a:gd name="connsiteY16" fmla="*/ 1181100 h 4686300"/>
              <a:gd name="connsiteX17" fmla="*/ 1885950 w 5372100"/>
              <a:gd name="connsiteY17" fmla="*/ 1162050 h 4686300"/>
              <a:gd name="connsiteX18" fmla="*/ 1543050 w 5372100"/>
              <a:gd name="connsiteY18" fmla="*/ 1504950 h 4686300"/>
              <a:gd name="connsiteX19" fmla="*/ 1733550 w 5372100"/>
              <a:gd name="connsiteY19" fmla="*/ 2038350 h 4686300"/>
              <a:gd name="connsiteX20" fmla="*/ 1771650 w 5372100"/>
              <a:gd name="connsiteY20" fmla="*/ 2419350 h 4686300"/>
              <a:gd name="connsiteX21" fmla="*/ 1143000 w 5372100"/>
              <a:gd name="connsiteY21" fmla="*/ 2647950 h 4686300"/>
              <a:gd name="connsiteX22" fmla="*/ 952500 w 5372100"/>
              <a:gd name="connsiteY22" fmla="*/ 3009900 h 4686300"/>
              <a:gd name="connsiteX23" fmla="*/ 457200 w 5372100"/>
              <a:gd name="connsiteY23" fmla="*/ 3276600 h 4686300"/>
              <a:gd name="connsiteX24" fmla="*/ 285750 w 5372100"/>
              <a:gd name="connsiteY24" fmla="*/ 3600450 h 4686300"/>
              <a:gd name="connsiteX25" fmla="*/ 38100 w 5372100"/>
              <a:gd name="connsiteY25" fmla="*/ 3886200 h 4686300"/>
              <a:gd name="connsiteX26" fmla="*/ 0 w 5372100"/>
              <a:gd name="connsiteY26" fmla="*/ 3638550 h 4686300"/>
              <a:gd name="connsiteX27" fmla="*/ 247650 w 5372100"/>
              <a:gd name="connsiteY27" fmla="*/ 3257550 h 4686300"/>
              <a:gd name="connsiteX28" fmla="*/ 628650 w 5372100"/>
              <a:gd name="connsiteY28" fmla="*/ 2895600 h 4686300"/>
              <a:gd name="connsiteX29" fmla="*/ 1066800 w 5372100"/>
              <a:gd name="connsiteY29" fmla="*/ 2667000 h 4686300"/>
              <a:gd name="connsiteX30" fmla="*/ 1543050 w 5372100"/>
              <a:gd name="connsiteY30" fmla="*/ 2419350 h 4686300"/>
              <a:gd name="connsiteX31" fmla="*/ 1504950 w 5372100"/>
              <a:gd name="connsiteY31" fmla="*/ 1981200 h 4686300"/>
              <a:gd name="connsiteX32" fmla="*/ 1390650 w 5372100"/>
              <a:gd name="connsiteY32" fmla="*/ 1676400 h 4686300"/>
              <a:gd name="connsiteX33" fmla="*/ 1543050 w 5372100"/>
              <a:gd name="connsiteY33" fmla="*/ 1200150 h 4686300"/>
              <a:gd name="connsiteX34" fmla="*/ 1847850 w 5372100"/>
              <a:gd name="connsiteY34" fmla="*/ 971550 h 4686300"/>
              <a:gd name="connsiteX35" fmla="*/ 2343150 w 5372100"/>
              <a:gd name="connsiteY35" fmla="*/ 933450 h 4686300"/>
              <a:gd name="connsiteX36" fmla="*/ 2419350 w 5372100"/>
              <a:gd name="connsiteY36" fmla="*/ 838200 h 4686300"/>
              <a:gd name="connsiteX37" fmla="*/ 2647950 w 5372100"/>
              <a:gd name="connsiteY37" fmla="*/ 0 h 4686300"/>
              <a:gd name="connsiteX38" fmla="*/ 2762250 w 5372100"/>
              <a:gd name="connsiteY38" fmla="*/ 0 h 4686300"/>
              <a:gd name="connsiteX0" fmla="*/ 2762250 w 5372100"/>
              <a:gd name="connsiteY0" fmla="*/ 0 h 4686300"/>
              <a:gd name="connsiteX1" fmla="*/ 2590800 w 5372100"/>
              <a:gd name="connsiteY1" fmla="*/ 723900 h 4686300"/>
              <a:gd name="connsiteX2" fmla="*/ 2743200 w 5372100"/>
              <a:gd name="connsiteY2" fmla="*/ 1047750 h 4686300"/>
              <a:gd name="connsiteX3" fmla="*/ 3505200 w 5372100"/>
              <a:gd name="connsiteY3" fmla="*/ 1409700 h 4686300"/>
              <a:gd name="connsiteX4" fmla="*/ 4230007 w 5372100"/>
              <a:gd name="connsiteY4" fmla="*/ 2745014 h 4686300"/>
              <a:gd name="connsiteX5" fmla="*/ 4853214 w 5372100"/>
              <a:gd name="connsiteY5" fmla="*/ 3515179 h 4686300"/>
              <a:gd name="connsiteX6" fmla="*/ 5010150 w 5372100"/>
              <a:gd name="connsiteY6" fmla="*/ 3848100 h 4686300"/>
              <a:gd name="connsiteX7" fmla="*/ 5181600 w 5372100"/>
              <a:gd name="connsiteY7" fmla="*/ 4552950 h 4686300"/>
              <a:gd name="connsiteX8" fmla="*/ 5372100 w 5372100"/>
              <a:gd name="connsiteY8" fmla="*/ 4686300 h 4686300"/>
              <a:gd name="connsiteX9" fmla="*/ 4972050 w 5372100"/>
              <a:gd name="connsiteY9" fmla="*/ 4686300 h 4686300"/>
              <a:gd name="connsiteX10" fmla="*/ 4953000 w 5372100"/>
              <a:gd name="connsiteY10" fmla="*/ 4419600 h 4686300"/>
              <a:gd name="connsiteX11" fmla="*/ 4838700 w 5372100"/>
              <a:gd name="connsiteY11" fmla="*/ 3962400 h 4686300"/>
              <a:gd name="connsiteX12" fmla="*/ 4608286 w 5372100"/>
              <a:gd name="connsiteY12" fmla="*/ 3381828 h 4686300"/>
              <a:gd name="connsiteX13" fmla="*/ 4140200 w 5372100"/>
              <a:gd name="connsiteY13" fmla="*/ 2807607 h 4686300"/>
              <a:gd name="connsiteX14" fmla="*/ 3686628 w 5372100"/>
              <a:gd name="connsiteY14" fmla="*/ 1797957 h 4686300"/>
              <a:gd name="connsiteX15" fmla="*/ 2590800 w 5372100"/>
              <a:gd name="connsiteY15" fmla="*/ 1104900 h 4686300"/>
              <a:gd name="connsiteX16" fmla="*/ 2228850 w 5372100"/>
              <a:gd name="connsiteY16" fmla="*/ 1181100 h 4686300"/>
              <a:gd name="connsiteX17" fmla="*/ 1885950 w 5372100"/>
              <a:gd name="connsiteY17" fmla="*/ 1162050 h 4686300"/>
              <a:gd name="connsiteX18" fmla="*/ 1543050 w 5372100"/>
              <a:gd name="connsiteY18" fmla="*/ 1504950 h 4686300"/>
              <a:gd name="connsiteX19" fmla="*/ 1733550 w 5372100"/>
              <a:gd name="connsiteY19" fmla="*/ 2038350 h 4686300"/>
              <a:gd name="connsiteX20" fmla="*/ 1771650 w 5372100"/>
              <a:gd name="connsiteY20" fmla="*/ 2419350 h 4686300"/>
              <a:gd name="connsiteX21" fmla="*/ 1143000 w 5372100"/>
              <a:gd name="connsiteY21" fmla="*/ 2647950 h 4686300"/>
              <a:gd name="connsiteX22" fmla="*/ 952500 w 5372100"/>
              <a:gd name="connsiteY22" fmla="*/ 3009900 h 4686300"/>
              <a:gd name="connsiteX23" fmla="*/ 457200 w 5372100"/>
              <a:gd name="connsiteY23" fmla="*/ 3276600 h 4686300"/>
              <a:gd name="connsiteX24" fmla="*/ 285750 w 5372100"/>
              <a:gd name="connsiteY24" fmla="*/ 3600450 h 4686300"/>
              <a:gd name="connsiteX25" fmla="*/ 38100 w 5372100"/>
              <a:gd name="connsiteY25" fmla="*/ 3886200 h 4686300"/>
              <a:gd name="connsiteX26" fmla="*/ 0 w 5372100"/>
              <a:gd name="connsiteY26" fmla="*/ 3638550 h 4686300"/>
              <a:gd name="connsiteX27" fmla="*/ 247650 w 5372100"/>
              <a:gd name="connsiteY27" fmla="*/ 3257550 h 4686300"/>
              <a:gd name="connsiteX28" fmla="*/ 628650 w 5372100"/>
              <a:gd name="connsiteY28" fmla="*/ 2895600 h 4686300"/>
              <a:gd name="connsiteX29" fmla="*/ 1066800 w 5372100"/>
              <a:gd name="connsiteY29" fmla="*/ 2667000 h 4686300"/>
              <a:gd name="connsiteX30" fmla="*/ 1543050 w 5372100"/>
              <a:gd name="connsiteY30" fmla="*/ 2419350 h 4686300"/>
              <a:gd name="connsiteX31" fmla="*/ 1504950 w 5372100"/>
              <a:gd name="connsiteY31" fmla="*/ 1981200 h 4686300"/>
              <a:gd name="connsiteX32" fmla="*/ 1390650 w 5372100"/>
              <a:gd name="connsiteY32" fmla="*/ 1676400 h 4686300"/>
              <a:gd name="connsiteX33" fmla="*/ 1543050 w 5372100"/>
              <a:gd name="connsiteY33" fmla="*/ 1200150 h 4686300"/>
              <a:gd name="connsiteX34" fmla="*/ 1847850 w 5372100"/>
              <a:gd name="connsiteY34" fmla="*/ 971550 h 4686300"/>
              <a:gd name="connsiteX35" fmla="*/ 2343150 w 5372100"/>
              <a:gd name="connsiteY35" fmla="*/ 933450 h 4686300"/>
              <a:gd name="connsiteX36" fmla="*/ 2419350 w 5372100"/>
              <a:gd name="connsiteY36" fmla="*/ 838200 h 4686300"/>
              <a:gd name="connsiteX37" fmla="*/ 2647950 w 5372100"/>
              <a:gd name="connsiteY37" fmla="*/ 0 h 4686300"/>
              <a:gd name="connsiteX38" fmla="*/ 2762250 w 5372100"/>
              <a:gd name="connsiteY38" fmla="*/ 0 h 4686300"/>
              <a:gd name="connsiteX0" fmla="*/ 2762250 w 5372100"/>
              <a:gd name="connsiteY0" fmla="*/ 0 h 4686300"/>
              <a:gd name="connsiteX1" fmla="*/ 2590800 w 5372100"/>
              <a:gd name="connsiteY1" fmla="*/ 723900 h 4686300"/>
              <a:gd name="connsiteX2" fmla="*/ 2743200 w 5372100"/>
              <a:gd name="connsiteY2" fmla="*/ 1047750 h 4686300"/>
              <a:gd name="connsiteX3" fmla="*/ 3505200 w 5372100"/>
              <a:gd name="connsiteY3" fmla="*/ 1409700 h 4686300"/>
              <a:gd name="connsiteX4" fmla="*/ 4230007 w 5372100"/>
              <a:gd name="connsiteY4" fmla="*/ 2745014 h 4686300"/>
              <a:gd name="connsiteX5" fmla="*/ 4853214 w 5372100"/>
              <a:gd name="connsiteY5" fmla="*/ 3515179 h 4686300"/>
              <a:gd name="connsiteX6" fmla="*/ 4937579 w 5372100"/>
              <a:gd name="connsiteY6" fmla="*/ 4007757 h 4686300"/>
              <a:gd name="connsiteX7" fmla="*/ 5181600 w 5372100"/>
              <a:gd name="connsiteY7" fmla="*/ 4552950 h 4686300"/>
              <a:gd name="connsiteX8" fmla="*/ 5372100 w 5372100"/>
              <a:gd name="connsiteY8" fmla="*/ 4686300 h 4686300"/>
              <a:gd name="connsiteX9" fmla="*/ 4972050 w 5372100"/>
              <a:gd name="connsiteY9" fmla="*/ 4686300 h 4686300"/>
              <a:gd name="connsiteX10" fmla="*/ 4953000 w 5372100"/>
              <a:gd name="connsiteY10" fmla="*/ 4419600 h 4686300"/>
              <a:gd name="connsiteX11" fmla="*/ 4838700 w 5372100"/>
              <a:gd name="connsiteY11" fmla="*/ 3962400 h 4686300"/>
              <a:gd name="connsiteX12" fmla="*/ 4608286 w 5372100"/>
              <a:gd name="connsiteY12" fmla="*/ 3381828 h 4686300"/>
              <a:gd name="connsiteX13" fmla="*/ 4140200 w 5372100"/>
              <a:gd name="connsiteY13" fmla="*/ 2807607 h 4686300"/>
              <a:gd name="connsiteX14" fmla="*/ 3686628 w 5372100"/>
              <a:gd name="connsiteY14" fmla="*/ 1797957 h 4686300"/>
              <a:gd name="connsiteX15" fmla="*/ 2590800 w 5372100"/>
              <a:gd name="connsiteY15" fmla="*/ 1104900 h 4686300"/>
              <a:gd name="connsiteX16" fmla="*/ 2228850 w 5372100"/>
              <a:gd name="connsiteY16" fmla="*/ 1181100 h 4686300"/>
              <a:gd name="connsiteX17" fmla="*/ 1885950 w 5372100"/>
              <a:gd name="connsiteY17" fmla="*/ 1162050 h 4686300"/>
              <a:gd name="connsiteX18" fmla="*/ 1543050 w 5372100"/>
              <a:gd name="connsiteY18" fmla="*/ 1504950 h 4686300"/>
              <a:gd name="connsiteX19" fmla="*/ 1733550 w 5372100"/>
              <a:gd name="connsiteY19" fmla="*/ 2038350 h 4686300"/>
              <a:gd name="connsiteX20" fmla="*/ 1771650 w 5372100"/>
              <a:gd name="connsiteY20" fmla="*/ 2419350 h 4686300"/>
              <a:gd name="connsiteX21" fmla="*/ 1143000 w 5372100"/>
              <a:gd name="connsiteY21" fmla="*/ 2647950 h 4686300"/>
              <a:gd name="connsiteX22" fmla="*/ 952500 w 5372100"/>
              <a:gd name="connsiteY22" fmla="*/ 3009900 h 4686300"/>
              <a:gd name="connsiteX23" fmla="*/ 457200 w 5372100"/>
              <a:gd name="connsiteY23" fmla="*/ 3276600 h 4686300"/>
              <a:gd name="connsiteX24" fmla="*/ 285750 w 5372100"/>
              <a:gd name="connsiteY24" fmla="*/ 3600450 h 4686300"/>
              <a:gd name="connsiteX25" fmla="*/ 38100 w 5372100"/>
              <a:gd name="connsiteY25" fmla="*/ 3886200 h 4686300"/>
              <a:gd name="connsiteX26" fmla="*/ 0 w 5372100"/>
              <a:gd name="connsiteY26" fmla="*/ 3638550 h 4686300"/>
              <a:gd name="connsiteX27" fmla="*/ 247650 w 5372100"/>
              <a:gd name="connsiteY27" fmla="*/ 3257550 h 4686300"/>
              <a:gd name="connsiteX28" fmla="*/ 628650 w 5372100"/>
              <a:gd name="connsiteY28" fmla="*/ 2895600 h 4686300"/>
              <a:gd name="connsiteX29" fmla="*/ 1066800 w 5372100"/>
              <a:gd name="connsiteY29" fmla="*/ 2667000 h 4686300"/>
              <a:gd name="connsiteX30" fmla="*/ 1543050 w 5372100"/>
              <a:gd name="connsiteY30" fmla="*/ 2419350 h 4686300"/>
              <a:gd name="connsiteX31" fmla="*/ 1504950 w 5372100"/>
              <a:gd name="connsiteY31" fmla="*/ 1981200 h 4686300"/>
              <a:gd name="connsiteX32" fmla="*/ 1390650 w 5372100"/>
              <a:gd name="connsiteY32" fmla="*/ 1676400 h 4686300"/>
              <a:gd name="connsiteX33" fmla="*/ 1543050 w 5372100"/>
              <a:gd name="connsiteY33" fmla="*/ 1200150 h 4686300"/>
              <a:gd name="connsiteX34" fmla="*/ 1847850 w 5372100"/>
              <a:gd name="connsiteY34" fmla="*/ 971550 h 4686300"/>
              <a:gd name="connsiteX35" fmla="*/ 2343150 w 5372100"/>
              <a:gd name="connsiteY35" fmla="*/ 933450 h 4686300"/>
              <a:gd name="connsiteX36" fmla="*/ 2419350 w 5372100"/>
              <a:gd name="connsiteY36" fmla="*/ 838200 h 4686300"/>
              <a:gd name="connsiteX37" fmla="*/ 2647950 w 5372100"/>
              <a:gd name="connsiteY37" fmla="*/ 0 h 4686300"/>
              <a:gd name="connsiteX38" fmla="*/ 2762250 w 5372100"/>
              <a:gd name="connsiteY38" fmla="*/ 0 h 4686300"/>
              <a:gd name="connsiteX0" fmla="*/ 2762250 w 5372100"/>
              <a:gd name="connsiteY0" fmla="*/ 0 h 4686300"/>
              <a:gd name="connsiteX1" fmla="*/ 2590800 w 5372100"/>
              <a:gd name="connsiteY1" fmla="*/ 723900 h 4686300"/>
              <a:gd name="connsiteX2" fmla="*/ 2743200 w 5372100"/>
              <a:gd name="connsiteY2" fmla="*/ 1047750 h 4686300"/>
              <a:gd name="connsiteX3" fmla="*/ 3505200 w 5372100"/>
              <a:gd name="connsiteY3" fmla="*/ 1409700 h 4686300"/>
              <a:gd name="connsiteX4" fmla="*/ 4230007 w 5372100"/>
              <a:gd name="connsiteY4" fmla="*/ 2745014 h 4686300"/>
              <a:gd name="connsiteX5" fmla="*/ 4853214 w 5372100"/>
              <a:gd name="connsiteY5" fmla="*/ 3515179 h 4686300"/>
              <a:gd name="connsiteX6" fmla="*/ 4937579 w 5372100"/>
              <a:gd name="connsiteY6" fmla="*/ 4007757 h 4686300"/>
              <a:gd name="connsiteX7" fmla="*/ 5181600 w 5372100"/>
              <a:gd name="connsiteY7" fmla="*/ 4552950 h 4686300"/>
              <a:gd name="connsiteX8" fmla="*/ 5372100 w 5372100"/>
              <a:gd name="connsiteY8" fmla="*/ 4686300 h 4686300"/>
              <a:gd name="connsiteX9" fmla="*/ 4972050 w 5372100"/>
              <a:gd name="connsiteY9" fmla="*/ 4686300 h 4686300"/>
              <a:gd name="connsiteX10" fmla="*/ 4575629 w 5372100"/>
              <a:gd name="connsiteY10" fmla="*/ 4288972 h 4686300"/>
              <a:gd name="connsiteX11" fmla="*/ 4838700 w 5372100"/>
              <a:gd name="connsiteY11" fmla="*/ 3962400 h 4686300"/>
              <a:gd name="connsiteX12" fmla="*/ 4608286 w 5372100"/>
              <a:gd name="connsiteY12" fmla="*/ 3381828 h 4686300"/>
              <a:gd name="connsiteX13" fmla="*/ 4140200 w 5372100"/>
              <a:gd name="connsiteY13" fmla="*/ 2807607 h 4686300"/>
              <a:gd name="connsiteX14" fmla="*/ 3686628 w 5372100"/>
              <a:gd name="connsiteY14" fmla="*/ 1797957 h 4686300"/>
              <a:gd name="connsiteX15" fmla="*/ 2590800 w 5372100"/>
              <a:gd name="connsiteY15" fmla="*/ 1104900 h 4686300"/>
              <a:gd name="connsiteX16" fmla="*/ 2228850 w 5372100"/>
              <a:gd name="connsiteY16" fmla="*/ 1181100 h 4686300"/>
              <a:gd name="connsiteX17" fmla="*/ 1885950 w 5372100"/>
              <a:gd name="connsiteY17" fmla="*/ 1162050 h 4686300"/>
              <a:gd name="connsiteX18" fmla="*/ 1543050 w 5372100"/>
              <a:gd name="connsiteY18" fmla="*/ 1504950 h 4686300"/>
              <a:gd name="connsiteX19" fmla="*/ 1733550 w 5372100"/>
              <a:gd name="connsiteY19" fmla="*/ 2038350 h 4686300"/>
              <a:gd name="connsiteX20" fmla="*/ 1771650 w 5372100"/>
              <a:gd name="connsiteY20" fmla="*/ 2419350 h 4686300"/>
              <a:gd name="connsiteX21" fmla="*/ 1143000 w 5372100"/>
              <a:gd name="connsiteY21" fmla="*/ 2647950 h 4686300"/>
              <a:gd name="connsiteX22" fmla="*/ 952500 w 5372100"/>
              <a:gd name="connsiteY22" fmla="*/ 3009900 h 4686300"/>
              <a:gd name="connsiteX23" fmla="*/ 457200 w 5372100"/>
              <a:gd name="connsiteY23" fmla="*/ 3276600 h 4686300"/>
              <a:gd name="connsiteX24" fmla="*/ 285750 w 5372100"/>
              <a:gd name="connsiteY24" fmla="*/ 3600450 h 4686300"/>
              <a:gd name="connsiteX25" fmla="*/ 38100 w 5372100"/>
              <a:gd name="connsiteY25" fmla="*/ 3886200 h 4686300"/>
              <a:gd name="connsiteX26" fmla="*/ 0 w 5372100"/>
              <a:gd name="connsiteY26" fmla="*/ 3638550 h 4686300"/>
              <a:gd name="connsiteX27" fmla="*/ 247650 w 5372100"/>
              <a:gd name="connsiteY27" fmla="*/ 3257550 h 4686300"/>
              <a:gd name="connsiteX28" fmla="*/ 628650 w 5372100"/>
              <a:gd name="connsiteY28" fmla="*/ 2895600 h 4686300"/>
              <a:gd name="connsiteX29" fmla="*/ 1066800 w 5372100"/>
              <a:gd name="connsiteY29" fmla="*/ 2667000 h 4686300"/>
              <a:gd name="connsiteX30" fmla="*/ 1543050 w 5372100"/>
              <a:gd name="connsiteY30" fmla="*/ 2419350 h 4686300"/>
              <a:gd name="connsiteX31" fmla="*/ 1504950 w 5372100"/>
              <a:gd name="connsiteY31" fmla="*/ 1981200 h 4686300"/>
              <a:gd name="connsiteX32" fmla="*/ 1390650 w 5372100"/>
              <a:gd name="connsiteY32" fmla="*/ 1676400 h 4686300"/>
              <a:gd name="connsiteX33" fmla="*/ 1543050 w 5372100"/>
              <a:gd name="connsiteY33" fmla="*/ 1200150 h 4686300"/>
              <a:gd name="connsiteX34" fmla="*/ 1847850 w 5372100"/>
              <a:gd name="connsiteY34" fmla="*/ 971550 h 4686300"/>
              <a:gd name="connsiteX35" fmla="*/ 2343150 w 5372100"/>
              <a:gd name="connsiteY35" fmla="*/ 933450 h 4686300"/>
              <a:gd name="connsiteX36" fmla="*/ 2419350 w 5372100"/>
              <a:gd name="connsiteY36" fmla="*/ 838200 h 4686300"/>
              <a:gd name="connsiteX37" fmla="*/ 2647950 w 5372100"/>
              <a:gd name="connsiteY37" fmla="*/ 0 h 4686300"/>
              <a:gd name="connsiteX38" fmla="*/ 2762250 w 5372100"/>
              <a:gd name="connsiteY38" fmla="*/ 0 h 4686300"/>
              <a:gd name="connsiteX0" fmla="*/ 2762250 w 5372100"/>
              <a:gd name="connsiteY0" fmla="*/ 0 h 4686300"/>
              <a:gd name="connsiteX1" fmla="*/ 2590800 w 5372100"/>
              <a:gd name="connsiteY1" fmla="*/ 723900 h 4686300"/>
              <a:gd name="connsiteX2" fmla="*/ 2743200 w 5372100"/>
              <a:gd name="connsiteY2" fmla="*/ 1047750 h 4686300"/>
              <a:gd name="connsiteX3" fmla="*/ 3505200 w 5372100"/>
              <a:gd name="connsiteY3" fmla="*/ 1409700 h 4686300"/>
              <a:gd name="connsiteX4" fmla="*/ 4230007 w 5372100"/>
              <a:gd name="connsiteY4" fmla="*/ 2745014 h 4686300"/>
              <a:gd name="connsiteX5" fmla="*/ 4853214 w 5372100"/>
              <a:gd name="connsiteY5" fmla="*/ 3515179 h 4686300"/>
              <a:gd name="connsiteX6" fmla="*/ 4937579 w 5372100"/>
              <a:gd name="connsiteY6" fmla="*/ 4007757 h 4686300"/>
              <a:gd name="connsiteX7" fmla="*/ 5181600 w 5372100"/>
              <a:gd name="connsiteY7" fmla="*/ 4552950 h 4686300"/>
              <a:gd name="connsiteX8" fmla="*/ 5372100 w 5372100"/>
              <a:gd name="connsiteY8" fmla="*/ 4686300 h 4686300"/>
              <a:gd name="connsiteX9" fmla="*/ 4449536 w 5372100"/>
              <a:gd name="connsiteY9" fmla="*/ 4657271 h 4686300"/>
              <a:gd name="connsiteX10" fmla="*/ 4575629 w 5372100"/>
              <a:gd name="connsiteY10" fmla="*/ 4288972 h 4686300"/>
              <a:gd name="connsiteX11" fmla="*/ 4838700 w 5372100"/>
              <a:gd name="connsiteY11" fmla="*/ 3962400 h 4686300"/>
              <a:gd name="connsiteX12" fmla="*/ 4608286 w 5372100"/>
              <a:gd name="connsiteY12" fmla="*/ 3381828 h 4686300"/>
              <a:gd name="connsiteX13" fmla="*/ 4140200 w 5372100"/>
              <a:gd name="connsiteY13" fmla="*/ 2807607 h 4686300"/>
              <a:gd name="connsiteX14" fmla="*/ 3686628 w 5372100"/>
              <a:gd name="connsiteY14" fmla="*/ 1797957 h 4686300"/>
              <a:gd name="connsiteX15" fmla="*/ 2590800 w 5372100"/>
              <a:gd name="connsiteY15" fmla="*/ 1104900 h 4686300"/>
              <a:gd name="connsiteX16" fmla="*/ 2228850 w 5372100"/>
              <a:gd name="connsiteY16" fmla="*/ 1181100 h 4686300"/>
              <a:gd name="connsiteX17" fmla="*/ 1885950 w 5372100"/>
              <a:gd name="connsiteY17" fmla="*/ 1162050 h 4686300"/>
              <a:gd name="connsiteX18" fmla="*/ 1543050 w 5372100"/>
              <a:gd name="connsiteY18" fmla="*/ 1504950 h 4686300"/>
              <a:gd name="connsiteX19" fmla="*/ 1733550 w 5372100"/>
              <a:gd name="connsiteY19" fmla="*/ 2038350 h 4686300"/>
              <a:gd name="connsiteX20" fmla="*/ 1771650 w 5372100"/>
              <a:gd name="connsiteY20" fmla="*/ 2419350 h 4686300"/>
              <a:gd name="connsiteX21" fmla="*/ 1143000 w 5372100"/>
              <a:gd name="connsiteY21" fmla="*/ 2647950 h 4686300"/>
              <a:gd name="connsiteX22" fmla="*/ 952500 w 5372100"/>
              <a:gd name="connsiteY22" fmla="*/ 3009900 h 4686300"/>
              <a:gd name="connsiteX23" fmla="*/ 457200 w 5372100"/>
              <a:gd name="connsiteY23" fmla="*/ 3276600 h 4686300"/>
              <a:gd name="connsiteX24" fmla="*/ 285750 w 5372100"/>
              <a:gd name="connsiteY24" fmla="*/ 3600450 h 4686300"/>
              <a:gd name="connsiteX25" fmla="*/ 38100 w 5372100"/>
              <a:gd name="connsiteY25" fmla="*/ 3886200 h 4686300"/>
              <a:gd name="connsiteX26" fmla="*/ 0 w 5372100"/>
              <a:gd name="connsiteY26" fmla="*/ 3638550 h 4686300"/>
              <a:gd name="connsiteX27" fmla="*/ 247650 w 5372100"/>
              <a:gd name="connsiteY27" fmla="*/ 3257550 h 4686300"/>
              <a:gd name="connsiteX28" fmla="*/ 628650 w 5372100"/>
              <a:gd name="connsiteY28" fmla="*/ 2895600 h 4686300"/>
              <a:gd name="connsiteX29" fmla="*/ 1066800 w 5372100"/>
              <a:gd name="connsiteY29" fmla="*/ 2667000 h 4686300"/>
              <a:gd name="connsiteX30" fmla="*/ 1543050 w 5372100"/>
              <a:gd name="connsiteY30" fmla="*/ 2419350 h 4686300"/>
              <a:gd name="connsiteX31" fmla="*/ 1504950 w 5372100"/>
              <a:gd name="connsiteY31" fmla="*/ 1981200 h 4686300"/>
              <a:gd name="connsiteX32" fmla="*/ 1390650 w 5372100"/>
              <a:gd name="connsiteY32" fmla="*/ 1676400 h 4686300"/>
              <a:gd name="connsiteX33" fmla="*/ 1543050 w 5372100"/>
              <a:gd name="connsiteY33" fmla="*/ 1200150 h 4686300"/>
              <a:gd name="connsiteX34" fmla="*/ 1847850 w 5372100"/>
              <a:gd name="connsiteY34" fmla="*/ 971550 h 4686300"/>
              <a:gd name="connsiteX35" fmla="*/ 2343150 w 5372100"/>
              <a:gd name="connsiteY35" fmla="*/ 933450 h 4686300"/>
              <a:gd name="connsiteX36" fmla="*/ 2419350 w 5372100"/>
              <a:gd name="connsiteY36" fmla="*/ 838200 h 4686300"/>
              <a:gd name="connsiteX37" fmla="*/ 2647950 w 5372100"/>
              <a:gd name="connsiteY37" fmla="*/ 0 h 4686300"/>
              <a:gd name="connsiteX38" fmla="*/ 2762250 w 5372100"/>
              <a:gd name="connsiteY38" fmla="*/ 0 h 4686300"/>
              <a:gd name="connsiteX0" fmla="*/ 2762250 w 5181600"/>
              <a:gd name="connsiteY0" fmla="*/ 0 h 4657272"/>
              <a:gd name="connsiteX1" fmla="*/ 2590800 w 5181600"/>
              <a:gd name="connsiteY1" fmla="*/ 723900 h 4657272"/>
              <a:gd name="connsiteX2" fmla="*/ 2743200 w 5181600"/>
              <a:gd name="connsiteY2" fmla="*/ 1047750 h 4657272"/>
              <a:gd name="connsiteX3" fmla="*/ 3505200 w 5181600"/>
              <a:gd name="connsiteY3" fmla="*/ 1409700 h 4657272"/>
              <a:gd name="connsiteX4" fmla="*/ 4230007 w 5181600"/>
              <a:gd name="connsiteY4" fmla="*/ 2745014 h 4657272"/>
              <a:gd name="connsiteX5" fmla="*/ 4853214 w 5181600"/>
              <a:gd name="connsiteY5" fmla="*/ 3515179 h 4657272"/>
              <a:gd name="connsiteX6" fmla="*/ 4937579 w 5181600"/>
              <a:gd name="connsiteY6" fmla="*/ 4007757 h 4657272"/>
              <a:gd name="connsiteX7" fmla="*/ 5181600 w 5181600"/>
              <a:gd name="connsiteY7" fmla="*/ 4552950 h 4657272"/>
              <a:gd name="connsiteX8" fmla="*/ 4689928 w 5181600"/>
              <a:gd name="connsiteY8" fmla="*/ 4657272 h 4657272"/>
              <a:gd name="connsiteX9" fmla="*/ 4449536 w 5181600"/>
              <a:gd name="connsiteY9" fmla="*/ 4657271 h 4657272"/>
              <a:gd name="connsiteX10" fmla="*/ 4575629 w 5181600"/>
              <a:gd name="connsiteY10" fmla="*/ 4288972 h 4657272"/>
              <a:gd name="connsiteX11" fmla="*/ 4838700 w 5181600"/>
              <a:gd name="connsiteY11" fmla="*/ 3962400 h 4657272"/>
              <a:gd name="connsiteX12" fmla="*/ 4608286 w 5181600"/>
              <a:gd name="connsiteY12" fmla="*/ 3381828 h 4657272"/>
              <a:gd name="connsiteX13" fmla="*/ 4140200 w 5181600"/>
              <a:gd name="connsiteY13" fmla="*/ 2807607 h 4657272"/>
              <a:gd name="connsiteX14" fmla="*/ 3686628 w 5181600"/>
              <a:gd name="connsiteY14" fmla="*/ 1797957 h 4657272"/>
              <a:gd name="connsiteX15" fmla="*/ 2590800 w 5181600"/>
              <a:gd name="connsiteY15" fmla="*/ 1104900 h 4657272"/>
              <a:gd name="connsiteX16" fmla="*/ 2228850 w 5181600"/>
              <a:gd name="connsiteY16" fmla="*/ 1181100 h 4657272"/>
              <a:gd name="connsiteX17" fmla="*/ 1885950 w 5181600"/>
              <a:gd name="connsiteY17" fmla="*/ 1162050 h 4657272"/>
              <a:gd name="connsiteX18" fmla="*/ 1543050 w 5181600"/>
              <a:gd name="connsiteY18" fmla="*/ 1504950 h 4657272"/>
              <a:gd name="connsiteX19" fmla="*/ 1733550 w 5181600"/>
              <a:gd name="connsiteY19" fmla="*/ 2038350 h 4657272"/>
              <a:gd name="connsiteX20" fmla="*/ 1771650 w 5181600"/>
              <a:gd name="connsiteY20" fmla="*/ 2419350 h 4657272"/>
              <a:gd name="connsiteX21" fmla="*/ 1143000 w 5181600"/>
              <a:gd name="connsiteY21" fmla="*/ 2647950 h 4657272"/>
              <a:gd name="connsiteX22" fmla="*/ 952500 w 5181600"/>
              <a:gd name="connsiteY22" fmla="*/ 3009900 h 4657272"/>
              <a:gd name="connsiteX23" fmla="*/ 457200 w 5181600"/>
              <a:gd name="connsiteY23" fmla="*/ 3276600 h 4657272"/>
              <a:gd name="connsiteX24" fmla="*/ 285750 w 5181600"/>
              <a:gd name="connsiteY24" fmla="*/ 3600450 h 4657272"/>
              <a:gd name="connsiteX25" fmla="*/ 38100 w 5181600"/>
              <a:gd name="connsiteY25" fmla="*/ 3886200 h 4657272"/>
              <a:gd name="connsiteX26" fmla="*/ 0 w 5181600"/>
              <a:gd name="connsiteY26" fmla="*/ 3638550 h 4657272"/>
              <a:gd name="connsiteX27" fmla="*/ 247650 w 5181600"/>
              <a:gd name="connsiteY27" fmla="*/ 3257550 h 4657272"/>
              <a:gd name="connsiteX28" fmla="*/ 628650 w 5181600"/>
              <a:gd name="connsiteY28" fmla="*/ 2895600 h 4657272"/>
              <a:gd name="connsiteX29" fmla="*/ 1066800 w 5181600"/>
              <a:gd name="connsiteY29" fmla="*/ 2667000 h 4657272"/>
              <a:gd name="connsiteX30" fmla="*/ 1543050 w 5181600"/>
              <a:gd name="connsiteY30" fmla="*/ 2419350 h 4657272"/>
              <a:gd name="connsiteX31" fmla="*/ 1504950 w 5181600"/>
              <a:gd name="connsiteY31" fmla="*/ 1981200 h 4657272"/>
              <a:gd name="connsiteX32" fmla="*/ 1390650 w 5181600"/>
              <a:gd name="connsiteY32" fmla="*/ 1676400 h 4657272"/>
              <a:gd name="connsiteX33" fmla="*/ 1543050 w 5181600"/>
              <a:gd name="connsiteY33" fmla="*/ 1200150 h 4657272"/>
              <a:gd name="connsiteX34" fmla="*/ 1847850 w 5181600"/>
              <a:gd name="connsiteY34" fmla="*/ 971550 h 4657272"/>
              <a:gd name="connsiteX35" fmla="*/ 2343150 w 5181600"/>
              <a:gd name="connsiteY35" fmla="*/ 933450 h 4657272"/>
              <a:gd name="connsiteX36" fmla="*/ 2419350 w 5181600"/>
              <a:gd name="connsiteY36" fmla="*/ 838200 h 4657272"/>
              <a:gd name="connsiteX37" fmla="*/ 2647950 w 5181600"/>
              <a:gd name="connsiteY37" fmla="*/ 0 h 4657272"/>
              <a:gd name="connsiteX38" fmla="*/ 2762250 w 5181600"/>
              <a:gd name="connsiteY38" fmla="*/ 0 h 4657272"/>
              <a:gd name="connsiteX0" fmla="*/ 2762250 w 4950967"/>
              <a:gd name="connsiteY0" fmla="*/ 0 h 4657272"/>
              <a:gd name="connsiteX1" fmla="*/ 2590800 w 4950967"/>
              <a:gd name="connsiteY1" fmla="*/ 723900 h 4657272"/>
              <a:gd name="connsiteX2" fmla="*/ 2743200 w 4950967"/>
              <a:gd name="connsiteY2" fmla="*/ 1047750 h 4657272"/>
              <a:gd name="connsiteX3" fmla="*/ 3505200 w 4950967"/>
              <a:gd name="connsiteY3" fmla="*/ 1409700 h 4657272"/>
              <a:gd name="connsiteX4" fmla="*/ 4230007 w 4950967"/>
              <a:gd name="connsiteY4" fmla="*/ 2745014 h 4657272"/>
              <a:gd name="connsiteX5" fmla="*/ 4853214 w 4950967"/>
              <a:gd name="connsiteY5" fmla="*/ 3515179 h 4657272"/>
              <a:gd name="connsiteX6" fmla="*/ 4937579 w 4950967"/>
              <a:gd name="connsiteY6" fmla="*/ 4007757 h 4657272"/>
              <a:gd name="connsiteX7" fmla="*/ 4731658 w 4950967"/>
              <a:gd name="connsiteY7" fmla="*/ 4436836 h 4657272"/>
              <a:gd name="connsiteX8" fmla="*/ 4689928 w 4950967"/>
              <a:gd name="connsiteY8" fmla="*/ 4657272 h 4657272"/>
              <a:gd name="connsiteX9" fmla="*/ 4449536 w 4950967"/>
              <a:gd name="connsiteY9" fmla="*/ 4657271 h 4657272"/>
              <a:gd name="connsiteX10" fmla="*/ 4575629 w 4950967"/>
              <a:gd name="connsiteY10" fmla="*/ 4288972 h 4657272"/>
              <a:gd name="connsiteX11" fmla="*/ 4838700 w 4950967"/>
              <a:gd name="connsiteY11" fmla="*/ 3962400 h 4657272"/>
              <a:gd name="connsiteX12" fmla="*/ 4608286 w 4950967"/>
              <a:gd name="connsiteY12" fmla="*/ 3381828 h 4657272"/>
              <a:gd name="connsiteX13" fmla="*/ 4140200 w 4950967"/>
              <a:gd name="connsiteY13" fmla="*/ 2807607 h 4657272"/>
              <a:gd name="connsiteX14" fmla="*/ 3686628 w 4950967"/>
              <a:gd name="connsiteY14" fmla="*/ 1797957 h 4657272"/>
              <a:gd name="connsiteX15" fmla="*/ 2590800 w 4950967"/>
              <a:gd name="connsiteY15" fmla="*/ 1104900 h 4657272"/>
              <a:gd name="connsiteX16" fmla="*/ 2228850 w 4950967"/>
              <a:gd name="connsiteY16" fmla="*/ 1181100 h 4657272"/>
              <a:gd name="connsiteX17" fmla="*/ 1885950 w 4950967"/>
              <a:gd name="connsiteY17" fmla="*/ 1162050 h 4657272"/>
              <a:gd name="connsiteX18" fmla="*/ 1543050 w 4950967"/>
              <a:gd name="connsiteY18" fmla="*/ 1504950 h 4657272"/>
              <a:gd name="connsiteX19" fmla="*/ 1733550 w 4950967"/>
              <a:gd name="connsiteY19" fmla="*/ 2038350 h 4657272"/>
              <a:gd name="connsiteX20" fmla="*/ 1771650 w 4950967"/>
              <a:gd name="connsiteY20" fmla="*/ 2419350 h 4657272"/>
              <a:gd name="connsiteX21" fmla="*/ 1143000 w 4950967"/>
              <a:gd name="connsiteY21" fmla="*/ 2647950 h 4657272"/>
              <a:gd name="connsiteX22" fmla="*/ 952500 w 4950967"/>
              <a:gd name="connsiteY22" fmla="*/ 3009900 h 4657272"/>
              <a:gd name="connsiteX23" fmla="*/ 457200 w 4950967"/>
              <a:gd name="connsiteY23" fmla="*/ 3276600 h 4657272"/>
              <a:gd name="connsiteX24" fmla="*/ 285750 w 4950967"/>
              <a:gd name="connsiteY24" fmla="*/ 3600450 h 4657272"/>
              <a:gd name="connsiteX25" fmla="*/ 38100 w 4950967"/>
              <a:gd name="connsiteY25" fmla="*/ 3886200 h 4657272"/>
              <a:gd name="connsiteX26" fmla="*/ 0 w 4950967"/>
              <a:gd name="connsiteY26" fmla="*/ 3638550 h 4657272"/>
              <a:gd name="connsiteX27" fmla="*/ 247650 w 4950967"/>
              <a:gd name="connsiteY27" fmla="*/ 3257550 h 4657272"/>
              <a:gd name="connsiteX28" fmla="*/ 628650 w 4950967"/>
              <a:gd name="connsiteY28" fmla="*/ 2895600 h 4657272"/>
              <a:gd name="connsiteX29" fmla="*/ 1066800 w 4950967"/>
              <a:gd name="connsiteY29" fmla="*/ 2667000 h 4657272"/>
              <a:gd name="connsiteX30" fmla="*/ 1543050 w 4950967"/>
              <a:gd name="connsiteY30" fmla="*/ 2419350 h 4657272"/>
              <a:gd name="connsiteX31" fmla="*/ 1504950 w 4950967"/>
              <a:gd name="connsiteY31" fmla="*/ 1981200 h 4657272"/>
              <a:gd name="connsiteX32" fmla="*/ 1390650 w 4950967"/>
              <a:gd name="connsiteY32" fmla="*/ 1676400 h 4657272"/>
              <a:gd name="connsiteX33" fmla="*/ 1543050 w 4950967"/>
              <a:gd name="connsiteY33" fmla="*/ 1200150 h 4657272"/>
              <a:gd name="connsiteX34" fmla="*/ 1847850 w 4950967"/>
              <a:gd name="connsiteY34" fmla="*/ 971550 h 4657272"/>
              <a:gd name="connsiteX35" fmla="*/ 2343150 w 4950967"/>
              <a:gd name="connsiteY35" fmla="*/ 933450 h 4657272"/>
              <a:gd name="connsiteX36" fmla="*/ 2419350 w 4950967"/>
              <a:gd name="connsiteY36" fmla="*/ 838200 h 4657272"/>
              <a:gd name="connsiteX37" fmla="*/ 2647950 w 4950967"/>
              <a:gd name="connsiteY37" fmla="*/ 0 h 4657272"/>
              <a:gd name="connsiteX38" fmla="*/ 2762250 w 4950967"/>
              <a:gd name="connsiteY38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228850 w 4956333"/>
              <a:gd name="connsiteY16" fmla="*/ 1181100 h 4657272"/>
              <a:gd name="connsiteX17" fmla="*/ 1885950 w 4956333"/>
              <a:gd name="connsiteY17" fmla="*/ 1162050 h 4657272"/>
              <a:gd name="connsiteX18" fmla="*/ 1543050 w 4956333"/>
              <a:gd name="connsiteY18" fmla="*/ 1504950 h 4657272"/>
              <a:gd name="connsiteX19" fmla="*/ 1733550 w 4956333"/>
              <a:gd name="connsiteY19" fmla="*/ 2038350 h 4657272"/>
              <a:gd name="connsiteX20" fmla="*/ 1771650 w 4956333"/>
              <a:gd name="connsiteY20" fmla="*/ 2419350 h 4657272"/>
              <a:gd name="connsiteX21" fmla="*/ 1143000 w 4956333"/>
              <a:gd name="connsiteY21" fmla="*/ 2647950 h 4657272"/>
              <a:gd name="connsiteX22" fmla="*/ 952500 w 4956333"/>
              <a:gd name="connsiteY22" fmla="*/ 3009900 h 4657272"/>
              <a:gd name="connsiteX23" fmla="*/ 457200 w 4956333"/>
              <a:gd name="connsiteY23" fmla="*/ 3276600 h 4657272"/>
              <a:gd name="connsiteX24" fmla="*/ 285750 w 4956333"/>
              <a:gd name="connsiteY24" fmla="*/ 3600450 h 4657272"/>
              <a:gd name="connsiteX25" fmla="*/ 38100 w 4956333"/>
              <a:gd name="connsiteY25" fmla="*/ 3886200 h 4657272"/>
              <a:gd name="connsiteX26" fmla="*/ 0 w 4956333"/>
              <a:gd name="connsiteY26" fmla="*/ 3638550 h 4657272"/>
              <a:gd name="connsiteX27" fmla="*/ 247650 w 4956333"/>
              <a:gd name="connsiteY27" fmla="*/ 3257550 h 4657272"/>
              <a:gd name="connsiteX28" fmla="*/ 628650 w 4956333"/>
              <a:gd name="connsiteY28" fmla="*/ 2895600 h 4657272"/>
              <a:gd name="connsiteX29" fmla="*/ 1066800 w 4956333"/>
              <a:gd name="connsiteY29" fmla="*/ 2667000 h 4657272"/>
              <a:gd name="connsiteX30" fmla="*/ 1543050 w 4956333"/>
              <a:gd name="connsiteY30" fmla="*/ 2419350 h 4657272"/>
              <a:gd name="connsiteX31" fmla="*/ 1504950 w 4956333"/>
              <a:gd name="connsiteY31" fmla="*/ 1981200 h 4657272"/>
              <a:gd name="connsiteX32" fmla="*/ 1390650 w 4956333"/>
              <a:gd name="connsiteY32" fmla="*/ 1676400 h 4657272"/>
              <a:gd name="connsiteX33" fmla="*/ 1543050 w 4956333"/>
              <a:gd name="connsiteY33" fmla="*/ 1200150 h 4657272"/>
              <a:gd name="connsiteX34" fmla="*/ 1847850 w 4956333"/>
              <a:gd name="connsiteY34" fmla="*/ 971550 h 4657272"/>
              <a:gd name="connsiteX35" fmla="*/ 2343150 w 4956333"/>
              <a:gd name="connsiteY35" fmla="*/ 933450 h 4657272"/>
              <a:gd name="connsiteX36" fmla="*/ 2419350 w 4956333"/>
              <a:gd name="connsiteY36" fmla="*/ 838200 h 4657272"/>
              <a:gd name="connsiteX37" fmla="*/ 2647950 w 4956333"/>
              <a:gd name="connsiteY37" fmla="*/ 0 h 4657272"/>
              <a:gd name="connsiteX38" fmla="*/ 2762250 w 4956333"/>
              <a:gd name="connsiteY38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228850 w 4956333"/>
              <a:gd name="connsiteY16" fmla="*/ 1181100 h 4657272"/>
              <a:gd name="connsiteX17" fmla="*/ 1885950 w 4956333"/>
              <a:gd name="connsiteY17" fmla="*/ 1162050 h 4657272"/>
              <a:gd name="connsiteX18" fmla="*/ 1543050 w 4956333"/>
              <a:gd name="connsiteY18" fmla="*/ 1504950 h 4657272"/>
              <a:gd name="connsiteX19" fmla="*/ 1733550 w 4956333"/>
              <a:gd name="connsiteY19" fmla="*/ 2038350 h 4657272"/>
              <a:gd name="connsiteX20" fmla="*/ 1771650 w 4956333"/>
              <a:gd name="connsiteY20" fmla="*/ 2419350 h 4657272"/>
              <a:gd name="connsiteX21" fmla="*/ 1143000 w 4956333"/>
              <a:gd name="connsiteY21" fmla="*/ 2647950 h 4657272"/>
              <a:gd name="connsiteX22" fmla="*/ 952500 w 4956333"/>
              <a:gd name="connsiteY22" fmla="*/ 3009900 h 4657272"/>
              <a:gd name="connsiteX23" fmla="*/ 457200 w 4956333"/>
              <a:gd name="connsiteY23" fmla="*/ 3276600 h 4657272"/>
              <a:gd name="connsiteX24" fmla="*/ 285750 w 4956333"/>
              <a:gd name="connsiteY24" fmla="*/ 3600450 h 4657272"/>
              <a:gd name="connsiteX25" fmla="*/ 38100 w 4956333"/>
              <a:gd name="connsiteY25" fmla="*/ 3886200 h 4657272"/>
              <a:gd name="connsiteX26" fmla="*/ 0 w 4956333"/>
              <a:gd name="connsiteY26" fmla="*/ 3638550 h 4657272"/>
              <a:gd name="connsiteX27" fmla="*/ 247650 w 4956333"/>
              <a:gd name="connsiteY27" fmla="*/ 3257550 h 4657272"/>
              <a:gd name="connsiteX28" fmla="*/ 628650 w 4956333"/>
              <a:gd name="connsiteY28" fmla="*/ 2895600 h 4657272"/>
              <a:gd name="connsiteX29" fmla="*/ 1066800 w 4956333"/>
              <a:gd name="connsiteY29" fmla="*/ 2667000 h 4657272"/>
              <a:gd name="connsiteX30" fmla="*/ 1543050 w 4956333"/>
              <a:gd name="connsiteY30" fmla="*/ 2419350 h 4657272"/>
              <a:gd name="connsiteX31" fmla="*/ 1504950 w 4956333"/>
              <a:gd name="connsiteY31" fmla="*/ 1981200 h 4657272"/>
              <a:gd name="connsiteX32" fmla="*/ 1390650 w 4956333"/>
              <a:gd name="connsiteY32" fmla="*/ 1676400 h 4657272"/>
              <a:gd name="connsiteX33" fmla="*/ 1543050 w 4956333"/>
              <a:gd name="connsiteY33" fmla="*/ 1200150 h 4657272"/>
              <a:gd name="connsiteX34" fmla="*/ 1847850 w 4956333"/>
              <a:gd name="connsiteY34" fmla="*/ 971550 h 4657272"/>
              <a:gd name="connsiteX35" fmla="*/ 2343150 w 4956333"/>
              <a:gd name="connsiteY35" fmla="*/ 933450 h 4657272"/>
              <a:gd name="connsiteX36" fmla="*/ 2419350 w 4956333"/>
              <a:gd name="connsiteY36" fmla="*/ 838200 h 4657272"/>
              <a:gd name="connsiteX37" fmla="*/ 2647950 w 4956333"/>
              <a:gd name="connsiteY37" fmla="*/ 0 h 4657272"/>
              <a:gd name="connsiteX38" fmla="*/ 2762250 w 4956333"/>
              <a:gd name="connsiteY38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70793 w 4956333"/>
              <a:gd name="connsiteY16" fmla="*/ 1108529 h 4657272"/>
              <a:gd name="connsiteX17" fmla="*/ 1885950 w 4956333"/>
              <a:gd name="connsiteY17" fmla="*/ 1162050 h 4657272"/>
              <a:gd name="connsiteX18" fmla="*/ 1543050 w 4956333"/>
              <a:gd name="connsiteY18" fmla="*/ 1504950 h 4657272"/>
              <a:gd name="connsiteX19" fmla="*/ 1733550 w 4956333"/>
              <a:gd name="connsiteY19" fmla="*/ 2038350 h 4657272"/>
              <a:gd name="connsiteX20" fmla="*/ 1771650 w 4956333"/>
              <a:gd name="connsiteY20" fmla="*/ 2419350 h 4657272"/>
              <a:gd name="connsiteX21" fmla="*/ 1143000 w 4956333"/>
              <a:gd name="connsiteY21" fmla="*/ 2647950 h 4657272"/>
              <a:gd name="connsiteX22" fmla="*/ 952500 w 4956333"/>
              <a:gd name="connsiteY22" fmla="*/ 3009900 h 4657272"/>
              <a:gd name="connsiteX23" fmla="*/ 457200 w 4956333"/>
              <a:gd name="connsiteY23" fmla="*/ 3276600 h 4657272"/>
              <a:gd name="connsiteX24" fmla="*/ 285750 w 4956333"/>
              <a:gd name="connsiteY24" fmla="*/ 3600450 h 4657272"/>
              <a:gd name="connsiteX25" fmla="*/ 38100 w 4956333"/>
              <a:gd name="connsiteY25" fmla="*/ 3886200 h 4657272"/>
              <a:gd name="connsiteX26" fmla="*/ 0 w 4956333"/>
              <a:gd name="connsiteY26" fmla="*/ 3638550 h 4657272"/>
              <a:gd name="connsiteX27" fmla="*/ 247650 w 4956333"/>
              <a:gd name="connsiteY27" fmla="*/ 3257550 h 4657272"/>
              <a:gd name="connsiteX28" fmla="*/ 628650 w 4956333"/>
              <a:gd name="connsiteY28" fmla="*/ 2895600 h 4657272"/>
              <a:gd name="connsiteX29" fmla="*/ 1066800 w 4956333"/>
              <a:gd name="connsiteY29" fmla="*/ 2667000 h 4657272"/>
              <a:gd name="connsiteX30" fmla="*/ 1543050 w 4956333"/>
              <a:gd name="connsiteY30" fmla="*/ 2419350 h 4657272"/>
              <a:gd name="connsiteX31" fmla="*/ 1504950 w 4956333"/>
              <a:gd name="connsiteY31" fmla="*/ 1981200 h 4657272"/>
              <a:gd name="connsiteX32" fmla="*/ 1390650 w 4956333"/>
              <a:gd name="connsiteY32" fmla="*/ 1676400 h 4657272"/>
              <a:gd name="connsiteX33" fmla="*/ 1543050 w 4956333"/>
              <a:gd name="connsiteY33" fmla="*/ 1200150 h 4657272"/>
              <a:gd name="connsiteX34" fmla="*/ 1847850 w 4956333"/>
              <a:gd name="connsiteY34" fmla="*/ 971550 h 4657272"/>
              <a:gd name="connsiteX35" fmla="*/ 2343150 w 4956333"/>
              <a:gd name="connsiteY35" fmla="*/ 933450 h 4657272"/>
              <a:gd name="connsiteX36" fmla="*/ 2419350 w 4956333"/>
              <a:gd name="connsiteY36" fmla="*/ 838200 h 4657272"/>
              <a:gd name="connsiteX37" fmla="*/ 2647950 w 4956333"/>
              <a:gd name="connsiteY37" fmla="*/ 0 h 4657272"/>
              <a:gd name="connsiteX38" fmla="*/ 2762250 w 4956333"/>
              <a:gd name="connsiteY38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70793 w 4956333"/>
              <a:gd name="connsiteY16" fmla="*/ 1108529 h 4657272"/>
              <a:gd name="connsiteX17" fmla="*/ 1543050 w 4956333"/>
              <a:gd name="connsiteY17" fmla="*/ 1504950 h 4657272"/>
              <a:gd name="connsiteX18" fmla="*/ 1733550 w 4956333"/>
              <a:gd name="connsiteY18" fmla="*/ 2038350 h 4657272"/>
              <a:gd name="connsiteX19" fmla="*/ 1771650 w 4956333"/>
              <a:gd name="connsiteY19" fmla="*/ 2419350 h 4657272"/>
              <a:gd name="connsiteX20" fmla="*/ 1143000 w 4956333"/>
              <a:gd name="connsiteY20" fmla="*/ 2647950 h 4657272"/>
              <a:gd name="connsiteX21" fmla="*/ 952500 w 4956333"/>
              <a:gd name="connsiteY21" fmla="*/ 3009900 h 4657272"/>
              <a:gd name="connsiteX22" fmla="*/ 457200 w 4956333"/>
              <a:gd name="connsiteY22" fmla="*/ 3276600 h 4657272"/>
              <a:gd name="connsiteX23" fmla="*/ 285750 w 4956333"/>
              <a:gd name="connsiteY23" fmla="*/ 3600450 h 4657272"/>
              <a:gd name="connsiteX24" fmla="*/ 38100 w 4956333"/>
              <a:gd name="connsiteY24" fmla="*/ 3886200 h 4657272"/>
              <a:gd name="connsiteX25" fmla="*/ 0 w 4956333"/>
              <a:gd name="connsiteY25" fmla="*/ 3638550 h 4657272"/>
              <a:gd name="connsiteX26" fmla="*/ 247650 w 4956333"/>
              <a:gd name="connsiteY26" fmla="*/ 3257550 h 4657272"/>
              <a:gd name="connsiteX27" fmla="*/ 628650 w 4956333"/>
              <a:gd name="connsiteY27" fmla="*/ 2895600 h 4657272"/>
              <a:gd name="connsiteX28" fmla="*/ 1066800 w 4956333"/>
              <a:gd name="connsiteY28" fmla="*/ 2667000 h 4657272"/>
              <a:gd name="connsiteX29" fmla="*/ 1543050 w 4956333"/>
              <a:gd name="connsiteY29" fmla="*/ 2419350 h 4657272"/>
              <a:gd name="connsiteX30" fmla="*/ 1504950 w 4956333"/>
              <a:gd name="connsiteY30" fmla="*/ 1981200 h 4657272"/>
              <a:gd name="connsiteX31" fmla="*/ 1390650 w 4956333"/>
              <a:gd name="connsiteY31" fmla="*/ 1676400 h 4657272"/>
              <a:gd name="connsiteX32" fmla="*/ 1543050 w 4956333"/>
              <a:gd name="connsiteY32" fmla="*/ 1200150 h 4657272"/>
              <a:gd name="connsiteX33" fmla="*/ 1847850 w 4956333"/>
              <a:gd name="connsiteY33" fmla="*/ 971550 h 4657272"/>
              <a:gd name="connsiteX34" fmla="*/ 2343150 w 4956333"/>
              <a:gd name="connsiteY34" fmla="*/ 933450 h 4657272"/>
              <a:gd name="connsiteX35" fmla="*/ 2419350 w 4956333"/>
              <a:gd name="connsiteY35" fmla="*/ 838200 h 4657272"/>
              <a:gd name="connsiteX36" fmla="*/ 2647950 w 4956333"/>
              <a:gd name="connsiteY36" fmla="*/ 0 h 4657272"/>
              <a:gd name="connsiteX37" fmla="*/ 2762250 w 4956333"/>
              <a:gd name="connsiteY37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70793 w 4956333"/>
              <a:gd name="connsiteY16" fmla="*/ 1108529 h 4657272"/>
              <a:gd name="connsiteX17" fmla="*/ 1733550 w 4956333"/>
              <a:gd name="connsiteY17" fmla="*/ 2038350 h 4657272"/>
              <a:gd name="connsiteX18" fmla="*/ 1771650 w 4956333"/>
              <a:gd name="connsiteY18" fmla="*/ 2419350 h 4657272"/>
              <a:gd name="connsiteX19" fmla="*/ 1143000 w 4956333"/>
              <a:gd name="connsiteY19" fmla="*/ 2647950 h 4657272"/>
              <a:gd name="connsiteX20" fmla="*/ 952500 w 4956333"/>
              <a:gd name="connsiteY20" fmla="*/ 3009900 h 4657272"/>
              <a:gd name="connsiteX21" fmla="*/ 457200 w 4956333"/>
              <a:gd name="connsiteY21" fmla="*/ 3276600 h 4657272"/>
              <a:gd name="connsiteX22" fmla="*/ 285750 w 4956333"/>
              <a:gd name="connsiteY22" fmla="*/ 3600450 h 4657272"/>
              <a:gd name="connsiteX23" fmla="*/ 38100 w 4956333"/>
              <a:gd name="connsiteY23" fmla="*/ 3886200 h 4657272"/>
              <a:gd name="connsiteX24" fmla="*/ 0 w 4956333"/>
              <a:gd name="connsiteY24" fmla="*/ 3638550 h 4657272"/>
              <a:gd name="connsiteX25" fmla="*/ 247650 w 4956333"/>
              <a:gd name="connsiteY25" fmla="*/ 3257550 h 4657272"/>
              <a:gd name="connsiteX26" fmla="*/ 628650 w 4956333"/>
              <a:gd name="connsiteY26" fmla="*/ 2895600 h 4657272"/>
              <a:gd name="connsiteX27" fmla="*/ 1066800 w 4956333"/>
              <a:gd name="connsiteY27" fmla="*/ 2667000 h 4657272"/>
              <a:gd name="connsiteX28" fmla="*/ 1543050 w 4956333"/>
              <a:gd name="connsiteY28" fmla="*/ 2419350 h 4657272"/>
              <a:gd name="connsiteX29" fmla="*/ 1504950 w 4956333"/>
              <a:gd name="connsiteY29" fmla="*/ 1981200 h 4657272"/>
              <a:gd name="connsiteX30" fmla="*/ 1390650 w 4956333"/>
              <a:gd name="connsiteY30" fmla="*/ 1676400 h 4657272"/>
              <a:gd name="connsiteX31" fmla="*/ 1543050 w 4956333"/>
              <a:gd name="connsiteY31" fmla="*/ 1200150 h 4657272"/>
              <a:gd name="connsiteX32" fmla="*/ 1847850 w 4956333"/>
              <a:gd name="connsiteY32" fmla="*/ 971550 h 4657272"/>
              <a:gd name="connsiteX33" fmla="*/ 2343150 w 4956333"/>
              <a:gd name="connsiteY33" fmla="*/ 933450 h 4657272"/>
              <a:gd name="connsiteX34" fmla="*/ 2419350 w 4956333"/>
              <a:gd name="connsiteY34" fmla="*/ 838200 h 4657272"/>
              <a:gd name="connsiteX35" fmla="*/ 2647950 w 4956333"/>
              <a:gd name="connsiteY35" fmla="*/ 0 h 4657272"/>
              <a:gd name="connsiteX36" fmla="*/ 2762250 w 4956333"/>
              <a:gd name="connsiteY36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70793 w 4956333"/>
              <a:gd name="connsiteY16" fmla="*/ 1108529 h 4657272"/>
              <a:gd name="connsiteX17" fmla="*/ 1733550 w 4956333"/>
              <a:gd name="connsiteY17" fmla="*/ 2038350 h 4657272"/>
              <a:gd name="connsiteX18" fmla="*/ 1771650 w 4956333"/>
              <a:gd name="connsiteY18" fmla="*/ 2419350 h 4657272"/>
              <a:gd name="connsiteX19" fmla="*/ 1143000 w 4956333"/>
              <a:gd name="connsiteY19" fmla="*/ 2647950 h 4657272"/>
              <a:gd name="connsiteX20" fmla="*/ 952500 w 4956333"/>
              <a:gd name="connsiteY20" fmla="*/ 3009900 h 4657272"/>
              <a:gd name="connsiteX21" fmla="*/ 457200 w 4956333"/>
              <a:gd name="connsiteY21" fmla="*/ 3276600 h 4657272"/>
              <a:gd name="connsiteX22" fmla="*/ 285750 w 4956333"/>
              <a:gd name="connsiteY22" fmla="*/ 3600450 h 4657272"/>
              <a:gd name="connsiteX23" fmla="*/ 38100 w 4956333"/>
              <a:gd name="connsiteY23" fmla="*/ 3886200 h 4657272"/>
              <a:gd name="connsiteX24" fmla="*/ 0 w 4956333"/>
              <a:gd name="connsiteY24" fmla="*/ 3638550 h 4657272"/>
              <a:gd name="connsiteX25" fmla="*/ 247650 w 4956333"/>
              <a:gd name="connsiteY25" fmla="*/ 3257550 h 4657272"/>
              <a:gd name="connsiteX26" fmla="*/ 628650 w 4956333"/>
              <a:gd name="connsiteY26" fmla="*/ 2895600 h 4657272"/>
              <a:gd name="connsiteX27" fmla="*/ 1066800 w 4956333"/>
              <a:gd name="connsiteY27" fmla="*/ 2667000 h 4657272"/>
              <a:gd name="connsiteX28" fmla="*/ 1543050 w 4956333"/>
              <a:gd name="connsiteY28" fmla="*/ 2419350 h 4657272"/>
              <a:gd name="connsiteX29" fmla="*/ 1504950 w 4956333"/>
              <a:gd name="connsiteY29" fmla="*/ 1981200 h 4657272"/>
              <a:gd name="connsiteX30" fmla="*/ 1390650 w 4956333"/>
              <a:gd name="connsiteY30" fmla="*/ 1676400 h 4657272"/>
              <a:gd name="connsiteX31" fmla="*/ 1543050 w 4956333"/>
              <a:gd name="connsiteY31" fmla="*/ 1200150 h 4657272"/>
              <a:gd name="connsiteX32" fmla="*/ 1847850 w 4956333"/>
              <a:gd name="connsiteY32" fmla="*/ 971550 h 4657272"/>
              <a:gd name="connsiteX33" fmla="*/ 2343150 w 4956333"/>
              <a:gd name="connsiteY33" fmla="*/ 933450 h 4657272"/>
              <a:gd name="connsiteX34" fmla="*/ 2419350 w 4956333"/>
              <a:gd name="connsiteY34" fmla="*/ 838200 h 4657272"/>
              <a:gd name="connsiteX35" fmla="*/ 2647950 w 4956333"/>
              <a:gd name="connsiteY35" fmla="*/ 0 h 4657272"/>
              <a:gd name="connsiteX36" fmla="*/ 2762250 w 4956333"/>
              <a:gd name="connsiteY36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70793 w 4956333"/>
              <a:gd name="connsiteY16" fmla="*/ 1108529 h 4657272"/>
              <a:gd name="connsiteX17" fmla="*/ 1617435 w 4956333"/>
              <a:gd name="connsiteY17" fmla="*/ 2183493 h 4657272"/>
              <a:gd name="connsiteX18" fmla="*/ 1771650 w 4956333"/>
              <a:gd name="connsiteY18" fmla="*/ 2419350 h 4657272"/>
              <a:gd name="connsiteX19" fmla="*/ 1143000 w 4956333"/>
              <a:gd name="connsiteY19" fmla="*/ 2647950 h 4657272"/>
              <a:gd name="connsiteX20" fmla="*/ 952500 w 4956333"/>
              <a:gd name="connsiteY20" fmla="*/ 3009900 h 4657272"/>
              <a:gd name="connsiteX21" fmla="*/ 457200 w 4956333"/>
              <a:gd name="connsiteY21" fmla="*/ 3276600 h 4657272"/>
              <a:gd name="connsiteX22" fmla="*/ 285750 w 4956333"/>
              <a:gd name="connsiteY22" fmla="*/ 3600450 h 4657272"/>
              <a:gd name="connsiteX23" fmla="*/ 38100 w 4956333"/>
              <a:gd name="connsiteY23" fmla="*/ 3886200 h 4657272"/>
              <a:gd name="connsiteX24" fmla="*/ 0 w 4956333"/>
              <a:gd name="connsiteY24" fmla="*/ 3638550 h 4657272"/>
              <a:gd name="connsiteX25" fmla="*/ 247650 w 4956333"/>
              <a:gd name="connsiteY25" fmla="*/ 3257550 h 4657272"/>
              <a:gd name="connsiteX26" fmla="*/ 628650 w 4956333"/>
              <a:gd name="connsiteY26" fmla="*/ 2895600 h 4657272"/>
              <a:gd name="connsiteX27" fmla="*/ 1066800 w 4956333"/>
              <a:gd name="connsiteY27" fmla="*/ 2667000 h 4657272"/>
              <a:gd name="connsiteX28" fmla="*/ 1543050 w 4956333"/>
              <a:gd name="connsiteY28" fmla="*/ 2419350 h 4657272"/>
              <a:gd name="connsiteX29" fmla="*/ 1504950 w 4956333"/>
              <a:gd name="connsiteY29" fmla="*/ 1981200 h 4657272"/>
              <a:gd name="connsiteX30" fmla="*/ 1390650 w 4956333"/>
              <a:gd name="connsiteY30" fmla="*/ 1676400 h 4657272"/>
              <a:gd name="connsiteX31" fmla="*/ 1543050 w 4956333"/>
              <a:gd name="connsiteY31" fmla="*/ 1200150 h 4657272"/>
              <a:gd name="connsiteX32" fmla="*/ 1847850 w 4956333"/>
              <a:gd name="connsiteY32" fmla="*/ 971550 h 4657272"/>
              <a:gd name="connsiteX33" fmla="*/ 2343150 w 4956333"/>
              <a:gd name="connsiteY33" fmla="*/ 933450 h 4657272"/>
              <a:gd name="connsiteX34" fmla="*/ 2419350 w 4956333"/>
              <a:gd name="connsiteY34" fmla="*/ 838200 h 4657272"/>
              <a:gd name="connsiteX35" fmla="*/ 2647950 w 4956333"/>
              <a:gd name="connsiteY35" fmla="*/ 0 h 4657272"/>
              <a:gd name="connsiteX36" fmla="*/ 2762250 w 4956333"/>
              <a:gd name="connsiteY36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70793 w 4956333"/>
              <a:gd name="connsiteY16" fmla="*/ 1108529 h 4657272"/>
              <a:gd name="connsiteX17" fmla="*/ 1771650 w 4956333"/>
              <a:gd name="connsiteY17" fmla="*/ 2419350 h 4657272"/>
              <a:gd name="connsiteX18" fmla="*/ 1143000 w 4956333"/>
              <a:gd name="connsiteY18" fmla="*/ 2647950 h 4657272"/>
              <a:gd name="connsiteX19" fmla="*/ 952500 w 4956333"/>
              <a:gd name="connsiteY19" fmla="*/ 3009900 h 4657272"/>
              <a:gd name="connsiteX20" fmla="*/ 457200 w 4956333"/>
              <a:gd name="connsiteY20" fmla="*/ 3276600 h 4657272"/>
              <a:gd name="connsiteX21" fmla="*/ 285750 w 4956333"/>
              <a:gd name="connsiteY21" fmla="*/ 3600450 h 4657272"/>
              <a:gd name="connsiteX22" fmla="*/ 38100 w 4956333"/>
              <a:gd name="connsiteY22" fmla="*/ 3886200 h 4657272"/>
              <a:gd name="connsiteX23" fmla="*/ 0 w 4956333"/>
              <a:gd name="connsiteY23" fmla="*/ 3638550 h 4657272"/>
              <a:gd name="connsiteX24" fmla="*/ 247650 w 4956333"/>
              <a:gd name="connsiteY24" fmla="*/ 3257550 h 4657272"/>
              <a:gd name="connsiteX25" fmla="*/ 628650 w 4956333"/>
              <a:gd name="connsiteY25" fmla="*/ 2895600 h 4657272"/>
              <a:gd name="connsiteX26" fmla="*/ 1066800 w 4956333"/>
              <a:gd name="connsiteY26" fmla="*/ 2667000 h 4657272"/>
              <a:gd name="connsiteX27" fmla="*/ 1543050 w 4956333"/>
              <a:gd name="connsiteY27" fmla="*/ 2419350 h 4657272"/>
              <a:gd name="connsiteX28" fmla="*/ 1504950 w 4956333"/>
              <a:gd name="connsiteY28" fmla="*/ 1981200 h 4657272"/>
              <a:gd name="connsiteX29" fmla="*/ 1390650 w 4956333"/>
              <a:gd name="connsiteY29" fmla="*/ 1676400 h 4657272"/>
              <a:gd name="connsiteX30" fmla="*/ 1543050 w 4956333"/>
              <a:gd name="connsiteY30" fmla="*/ 1200150 h 4657272"/>
              <a:gd name="connsiteX31" fmla="*/ 1847850 w 4956333"/>
              <a:gd name="connsiteY31" fmla="*/ 971550 h 4657272"/>
              <a:gd name="connsiteX32" fmla="*/ 2343150 w 4956333"/>
              <a:gd name="connsiteY32" fmla="*/ 933450 h 4657272"/>
              <a:gd name="connsiteX33" fmla="*/ 2419350 w 4956333"/>
              <a:gd name="connsiteY33" fmla="*/ 838200 h 4657272"/>
              <a:gd name="connsiteX34" fmla="*/ 2647950 w 4956333"/>
              <a:gd name="connsiteY34" fmla="*/ 0 h 4657272"/>
              <a:gd name="connsiteX35" fmla="*/ 2762250 w 4956333"/>
              <a:gd name="connsiteY35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70793 w 4956333"/>
              <a:gd name="connsiteY16" fmla="*/ 1108529 h 4657272"/>
              <a:gd name="connsiteX17" fmla="*/ 1771650 w 4956333"/>
              <a:gd name="connsiteY17" fmla="*/ 2419350 h 4657272"/>
              <a:gd name="connsiteX18" fmla="*/ 1143000 w 4956333"/>
              <a:gd name="connsiteY18" fmla="*/ 2647950 h 4657272"/>
              <a:gd name="connsiteX19" fmla="*/ 952500 w 4956333"/>
              <a:gd name="connsiteY19" fmla="*/ 3009900 h 4657272"/>
              <a:gd name="connsiteX20" fmla="*/ 457200 w 4956333"/>
              <a:gd name="connsiteY20" fmla="*/ 3276600 h 4657272"/>
              <a:gd name="connsiteX21" fmla="*/ 285750 w 4956333"/>
              <a:gd name="connsiteY21" fmla="*/ 3600450 h 4657272"/>
              <a:gd name="connsiteX22" fmla="*/ 38100 w 4956333"/>
              <a:gd name="connsiteY22" fmla="*/ 3886200 h 4657272"/>
              <a:gd name="connsiteX23" fmla="*/ 0 w 4956333"/>
              <a:gd name="connsiteY23" fmla="*/ 3638550 h 4657272"/>
              <a:gd name="connsiteX24" fmla="*/ 247650 w 4956333"/>
              <a:gd name="connsiteY24" fmla="*/ 3257550 h 4657272"/>
              <a:gd name="connsiteX25" fmla="*/ 628650 w 4956333"/>
              <a:gd name="connsiteY25" fmla="*/ 2895600 h 4657272"/>
              <a:gd name="connsiteX26" fmla="*/ 1066800 w 4956333"/>
              <a:gd name="connsiteY26" fmla="*/ 2667000 h 4657272"/>
              <a:gd name="connsiteX27" fmla="*/ 1543050 w 4956333"/>
              <a:gd name="connsiteY27" fmla="*/ 2419350 h 4657272"/>
              <a:gd name="connsiteX28" fmla="*/ 1504950 w 4956333"/>
              <a:gd name="connsiteY28" fmla="*/ 1981200 h 4657272"/>
              <a:gd name="connsiteX29" fmla="*/ 1390650 w 4956333"/>
              <a:gd name="connsiteY29" fmla="*/ 1676400 h 4657272"/>
              <a:gd name="connsiteX30" fmla="*/ 1543050 w 4956333"/>
              <a:gd name="connsiteY30" fmla="*/ 1200150 h 4657272"/>
              <a:gd name="connsiteX31" fmla="*/ 1847850 w 4956333"/>
              <a:gd name="connsiteY31" fmla="*/ 971550 h 4657272"/>
              <a:gd name="connsiteX32" fmla="*/ 2343150 w 4956333"/>
              <a:gd name="connsiteY32" fmla="*/ 933450 h 4657272"/>
              <a:gd name="connsiteX33" fmla="*/ 2419350 w 4956333"/>
              <a:gd name="connsiteY33" fmla="*/ 838200 h 4657272"/>
              <a:gd name="connsiteX34" fmla="*/ 2647950 w 4956333"/>
              <a:gd name="connsiteY34" fmla="*/ 0 h 4657272"/>
              <a:gd name="connsiteX35" fmla="*/ 2762250 w 4956333"/>
              <a:gd name="connsiteY35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70793 w 4956333"/>
              <a:gd name="connsiteY16" fmla="*/ 1108529 h 4657272"/>
              <a:gd name="connsiteX17" fmla="*/ 1771650 w 4956333"/>
              <a:gd name="connsiteY17" fmla="*/ 2419350 h 4657272"/>
              <a:gd name="connsiteX18" fmla="*/ 1143000 w 4956333"/>
              <a:gd name="connsiteY18" fmla="*/ 2647950 h 4657272"/>
              <a:gd name="connsiteX19" fmla="*/ 952500 w 4956333"/>
              <a:gd name="connsiteY19" fmla="*/ 3009900 h 4657272"/>
              <a:gd name="connsiteX20" fmla="*/ 457200 w 4956333"/>
              <a:gd name="connsiteY20" fmla="*/ 3276600 h 4657272"/>
              <a:gd name="connsiteX21" fmla="*/ 285750 w 4956333"/>
              <a:gd name="connsiteY21" fmla="*/ 3600450 h 4657272"/>
              <a:gd name="connsiteX22" fmla="*/ 38100 w 4956333"/>
              <a:gd name="connsiteY22" fmla="*/ 3886200 h 4657272"/>
              <a:gd name="connsiteX23" fmla="*/ 0 w 4956333"/>
              <a:gd name="connsiteY23" fmla="*/ 3638550 h 4657272"/>
              <a:gd name="connsiteX24" fmla="*/ 247650 w 4956333"/>
              <a:gd name="connsiteY24" fmla="*/ 3257550 h 4657272"/>
              <a:gd name="connsiteX25" fmla="*/ 628650 w 4956333"/>
              <a:gd name="connsiteY25" fmla="*/ 2895600 h 4657272"/>
              <a:gd name="connsiteX26" fmla="*/ 1066800 w 4956333"/>
              <a:gd name="connsiteY26" fmla="*/ 2667000 h 4657272"/>
              <a:gd name="connsiteX27" fmla="*/ 1543050 w 4956333"/>
              <a:gd name="connsiteY27" fmla="*/ 2419350 h 4657272"/>
              <a:gd name="connsiteX28" fmla="*/ 1504950 w 4956333"/>
              <a:gd name="connsiteY28" fmla="*/ 1981200 h 4657272"/>
              <a:gd name="connsiteX29" fmla="*/ 1390650 w 4956333"/>
              <a:gd name="connsiteY29" fmla="*/ 1676400 h 4657272"/>
              <a:gd name="connsiteX30" fmla="*/ 1543050 w 4956333"/>
              <a:gd name="connsiteY30" fmla="*/ 1200150 h 4657272"/>
              <a:gd name="connsiteX31" fmla="*/ 1847850 w 4956333"/>
              <a:gd name="connsiteY31" fmla="*/ 971550 h 4657272"/>
              <a:gd name="connsiteX32" fmla="*/ 2343150 w 4956333"/>
              <a:gd name="connsiteY32" fmla="*/ 933450 h 4657272"/>
              <a:gd name="connsiteX33" fmla="*/ 2419350 w 4956333"/>
              <a:gd name="connsiteY33" fmla="*/ 838200 h 4657272"/>
              <a:gd name="connsiteX34" fmla="*/ 2647950 w 4956333"/>
              <a:gd name="connsiteY34" fmla="*/ 0 h 4657272"/>
              <a:gd name="connsiteX35" fmla="*/ 2762250 w 4956333"/>
              <a:gd name="connsiteY35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56278 w 4956333"/>
              <a:gd name="connsiteY16" fmla="*/ 1035958 h 4657272"/>
              <a:gd name="connsiteX17" fmla="*/ 1771650 w 4956333"/>
              <a:gd name="connsiteY17" fmla="*/ 2419350 h 4657272"/>
              <a:gd name="connsiteX18" fmla="*/ 1143000 w 4956333"/>
              <a:gd name="connsiteY18" fmla="*/ 2647950 h 4657272"/>
              <a:gd name="connsiteX19" fmla="*/ 952500 w 4956333"/>
              <a:gd name="connsiteY19" fmla="*/ 3009900 h 4657272"/>
              <a:gd name="connsiteX20" fmla="*/ 457200 w 4956333"/>
              <a:gd name="connsiteY20" fmla="*/ 3276600 h 4657272"/>
              <a:gd name="connsiteX21" fmla="*/ 285750 w 4956333"/>
              <a:gd name="connsiteY21" fmla="*/ 3600450 h 4657272"/>
              <a:gd name="connsiteX22" fmla="*/ 38100 w 4956333"/>
              <a:gd name="connsiteY22" fmla="*/ 3886200 h 4657272"/>
              <a:gd name="connsiteX23" fmla="*/ 0 w 4956333"/>
              <a:gd name="connsiteY23" fmla="*/ 3638550 h 4657272"/>
              <a:gd name="connsiteX24" fmla="*/ 247650 w 4956333"/>
              <a:gd name="connsiteY24" fmla="*/ 3257550 h 4657272"/>
              <a:gd name="connsiteX25" fmla="*/ 628650 w 4956333"/>
              <a:gd name="connsiteY25" fmla="*/ 2895600 h 4657272"/>
              <a:gd name="connsiteX26" fmla="*/ 1066800 w 4956333"/>
              <a:gd name="connsiteY26" fmla="*/ 2667000 h 4657272"/>
              <a:gd name="connsiteX27" fmla="*/ 1543050 w 4956333"/>
              <a:gd name="connsiteY27" fmla="*/ 2419350 h 4657272"/>
              <a:gd name="connsiteX28" fmla="*/ 1504950 w 4956333"/>
              <a:gd name="connsiteY28" fmla="*/ 1981200 h 4657272"/>
              <a:gd name="connsiteX29" fmla="*/ 1390650 w 4956333"/>
              <a:gd name="connsiteY29" fmla="*/ 1676400 h 4657272"/>
              <a:gd name="connsiteX30" fmla="*/ 1543050 w 4956333"/>
              <a:gd name="connsiteY30" fmla="*/ 1200150 h 4657272"/>
              <a:gd name="connsiteX31" fmla="*/ 1847850 w 4956333"/>
              <a:gd name="connsiteY31" fmla="*/ 971550 h 4657272"/>
              <a:gd name="connsiteX32" fmla="*/ 2343150 w 4956333"/>
              <a:gd name="connsiteY32" fmla="*/ 933450 h 4657272"/>
              <a:gd name="connsiteX33" fmla="*/ 2419350 w 4956333"/>
              <a:gd name="connsiteY33" fmla="*/ 838200 h 4657272"/>
              <a:gd name="connsiteX34" fmla="*/ 2647950 w 4956333"/>
              <a:gd name="connsiteY34" fmla="*/ 0 h 4657272"/>
              <a:gd name="connsiteX35" fmla="*/ 2762250 w 4956333"/>
              <a:gd name="connsiteY35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56278 w 4956333"/>
              <a:gd name="connsiteY16" fmla="*/ 1035958 h 4657272"/>
              <a:gd name="connsiteX17" fmla="*/ 1771650 w 4956333"/>
              <a:gd name="connsiteY17" fmla="*/ 2419350 h 4657272"/>
              <a:gd name="connsiteX18" fmla="*/ 1143000 w 4956333"/>
              <a:gd name="connsiteY18" fmla="*/ 2647950 h 4657272"/>
              <a:gd name="connsiteX19" fmla="*/ 952500 w 4956333"/>
              <a:gd name="connsiteY19" fmla="*/ 3009900 h 4657272"/>
              <a:gd name="connsiteX20" fmla="*/ 457200 w 4956333"/>
              <a:gd name="connsiteY20" fmla="*/ 3276600 h 4657272"/>
              <a:gd name="connsiteX21" fmla="*/ 285750 w 4956333"/>
              <a:gd name="connsiteY21" fmla="*/ 3600450 h 4657272"/>
              <a:gd name="connsiteX22" fmla="*/ 38100 w 4956333"/>
              <a:gd name="connsiteY22" fmla="*/ 3886200 h 4657272"/>
              <a:gd name="connsiteX23" fmla="*/ 0 w 4956333"/>
              <a:gd name="connsiteY23" fmla="*/ 3638550 h 4657272"/>
              <a:gd name="connsiteX24" fmla="*/ 247650 w 4956333"/>
              <a:gd name="connsiteY24" fmla="*/ 3257550 h 4657272"/>
              <a:gd name="connsiteX25" fmla="*/ 628650 w 4956333"/>
              <a:gd name="connsiteY25" fmla="*/ 2895600 h 4657272"/>
              <a:gd name="connsiteX26" fmla="*/ 1066800 w 4956333"/>
              <a:gd name="connsiteY26" fmla="*/ 2667000 h 4657272"/>
              <a:gd name="connsiteX27" fmla="*/ 1543050 w 4956333"/>
              <a:gd name="connsiteY27" fmla="*/ 2419350 h 4657272"/>
              <a:gd name="connsiteX28" fmla="*/ 1504950 w 4956333"/>
              <a:gd name="connsiteY28" fmla="*/ 1981200 h 4657272"/>
              <a:gd name="connsiteX29" fmla="*/ 1390650 w 4956333"/>
              <a:gd name="connsiteY29" fmla="*/ 1676400 h 4657272"/>
              <a:gd name="connsiteX30" fmla="*/ 1543050 w 4956333"/>
              <a:gd name="connsiteY30" fmla="*/ 1200150 h 4657272"/>
              <a:gd name="connsiteX31" fmla="*/ 1847850 w 4956333"/>
              <a:gd name="connsiteY31" fmla="*/ 971550 h 4657272"/>
              <a:gd name="connsiteX32" fmla="*/ 2343150 w 4956333"/>
              <a:gd name="connsiteY32" fmla="*/ 933450 h 4657272"/>
              <a:gd name="connsiteX33" fmla="*/ 2419350 w 4956333"/>
              <a:gd name="connsiteY33" fmla="*/ 838200 h 4657272"/>
              <a:gd name="connsiteX34" fmla="*/ 2647950 w 4956333"/>
              <a:gd name="connsiteY34" fmla="*/ 0 h 4657272"/>
              <a:gd name="connsiteX35" fmla="*/ 2762250 w 4956333"/>
              <a:gd name="connsiteY35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56278 w 4956333"/>
              <a:gd name="connsiteY16" fmla="*/ 1035958 h 4657272"/>
              <a:gd name="connsiteX17" fmla="*/ 1771650 w 4956333"/>
              <a:gd name="connsiteY17" fmla="*/ 2419350 h 4657272"/>
              <a:gd name="connsiteX18" fmla="*/ 1143000 w 4956333"/>
              <a:gd name="connsiteY18" fmla="*/ 2647950 h 4657272"/>
              <a:gd name="connsiteX19" fmla="*/ 952500 w 4956333"/>
              <a:gd name="connsiteY19" fmla="*/ 3009900 h 4657272"/>
              <a:gd name="connsiteX20" fmla="*/ 457200 w 4956333"/>
              <a:gd name="connsiteY20" fmla="*/ 3276600 h 4657272"/>
              <a:gd name="connsiteX21" fmla="*/ 285750 w 4956333"/>
              <a:gd name="connsiteY21" fmla="*/ 3600450 h 4657272"/>
              <a:gd name="connsiteX22" fmla="*/ 38100 w 4956333"/>
              <a:gd name="connsiteY22" fmla="*/ 3886200 h 4657272"/>
              <a:gd name="connsiteX23" fmla="*/ 0 w 4956333"/>
              <a:gd name="connsiteY23" fmla="*/ 3638550 h 4657272"/>
              <a:gd name="connsiteX24" fmla="*/ 247650 w 4956333"/>
              <a:gd name="connsiteY24" fmla="*/ 3257550 h 4657272"/>
              <a:gd name="connsiteX25" fmla="*/ 628650 w 4956333"/>
              <a:gd name="connsiteY25" fmla="*/ 2895600 h 4657272"/>
              <a:gd name="connsiteX26" fmla="*/ 1066800 w 4956333"/>
              <a:gd name="connsiteY26" fmla="*/ 2667000 h 4657272"/>
              <a:gd name="connsiteX27" fmla="*/ 1528536 w 4956333"/>
              <a:gd name="connsiteY27" fmla="*/ 2390321 h 4657272"/>
              <a:gd name="connsiteX28" fmla="*/ 1504950 w 4956333"/>
              <a:gd name="connsiteY28" fmla="*/ 1981200 h 4657272"/>
              <a:gd name="connsiteX29" fmla="*/ 1390650 w 4956333"/>
              <a:gd name="connsiteY29" fmla="*/ 1676400 h 4657272"/>
              <a:gd name="connsiteX30" fmla="*/ 1543050 w 4956333"/>
              <a:gd name="connsiteY30" fmla="*/ 1200150 h 4657272"/>
              <a:gd name="connsiteX31" fmla="*/ 1847850 w 4956333"/>
              <a:gd name="connsiteY31" fmla="*/ 971550 h 4657272"/>
              <a:gd name="connsiteX32" fmla="*/ 2343150 w 4956333"/>
              <a:gd name="connsiteY32" fmla="*/ 933450 h 4657272"/>
              <a:gd name="connsiteX33" fmla="*/ 2419350 w 4956333"/>
              <a:gd name="connsiteY33" fmla="*/ 838200 h 4657272"/>
              <a:gd name="connsiteX34" fmla="*/ 2647950 w 4956333"/>
              <a:gd name="connsiteY34" fmla="*/ 0 h 4657272"/>
              <a:gd name="connsiteX35" fmla="*/ 2762250 w 4956333"/>
              <a:gd name="connsiteY35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56278 w 4956333"/>
              <a:gd name="connsiteY16" fmla="*/ 1035958 h 4657272"/>
              <a:gd name="connsiteX17" fmla="*/ 1771650 w 4956333"/>
              <a:gd name="connsiteY17" fmla="*/ 2419350 h 4657272"/>
              <a:gd name="connsiteX18" fmla="*/ 1143000 w 4956333"/>
              <a:gd name="connsiteY18" fmla="*/ 2647950 h 4657272"/>
              <a:gd name="connsiteX19" fmla="*/ 952500 w 4956333"/>
              <a:gd name="connsiteY19" fmla="*/ 3009900 h 4657272"/>
              <a:gd name="connsiteX20" fmla="*/ 457200 w 4956333"/>
              <a:gd name="connsiteY20" fmla="*/ 3276600 h 4657272"/>
              <a:gd name="connsiteX21" fmla="*/ 285750 w 4956333"/>
              <a:gd name="connsiteY21" fmla="*/ 3600450 h 4657272"/>
              <a:gd name="connsiteX22" fmla="*/ 38100 w 4956333"/>
              <a:gd name="connsiteY22" fmla="*/ 3886200 h 4657272"/>
              <a:gd name="connsiteX23" fmla="*/ 0 w 4956333"/>
              <a:gd name="connsiteY23" fmla="*/ 3638550 h 4657272"/>
              <a:gd name="connsiteX24" fmla="*/ 247650 w 4956333"/>
              <a:gd name="connsiteY24" fmla="*/ 3257550 h 4657272"/>
              <a:gd name="connsiteX25" fmla="*/ 628650 w 4956333"/>
              <a:gd name="connsiteY25" fmla="*/ 2895600 h 4657272"/>
              <a:gd name="connsiteX26" fmla="*/ 1066800 w 4956333"/>
              <a:gd name="connsiteY26" fmla="*/ 2667000 h 4657272"/>
              <a:gd name="connsiteX27" fmla="*/ 1528536 w 4956333"/>
              <a:gd name="connsiteY27" fmla="*/ 2390321 h 4657272"/>
              <a:gd name="connsiteX28" fmla="*/ 1504950 w 4956333"/>
              <a:gd name="connsiteY28" fmla="*/ 1981200 h 4657272"/>
              <a:gd name="connsiteX29" fmla="*/ 1390650 w 4956333"/>
              <a:gd name="connsiteY29" fmla="*/ 1676400 h 4657272"/>
              <a:gd name="connsiteX30" fmla="*/ 1543050 w 4956333"/>
              <a:gd name="connsiteY30" fmla="*/ 1200150 h 4657272"/>
              <a:gd name="connsiteX31" fmla="*/ 1847850 w 4956333"/>
              <a:gd name="connsiteY31" fmla="*/ 971550 h 4657272"/>
              <a:gd name="connsiteX32" fmla="*/ 2343150 w 4956333"/>
              <a:gd name="connsiteY32" fmla="*/ 933450 h 4657272"/>
              <a:gd name="connsiteX33" fmla="*/ 2419350 w 4956333"/>
              <a:gd name="connsiteY33" fmla="*/ 838200 h 4657272"/>
              <a:gd name="connsiteX34" fmla="*/ 2647950 w 4956333"/>
              <a:gd name="connsiteY34" fmla="*/ 0 h 4657272"/>
              <a:gd name="connsiteX35" fmla="*/ 2762250 w 4956333"/>
              <a:gd name="connsiteY35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56278 w 4956333"/>
              <a:gd name="connsiteY16" fmla="*/ 1035958 h 4657272"/>
              <a:gd name="connsiteX17" fmla="*/ 1771650 w 4956333"/>
              <a:gd name="connsiteY17" fmla="*/ 2419350 h 4657272"/>
              <a:gd name="connsiteX18" fmla="*/ 1143000 w 4956333"/>
              <a:gd name="connsiteY18" fmla="*/ 2647950 h 4657272"/>
              <a:gd name="connsiteX19" fmla="*/ 952500 w 4956333"/>
              <a:gd name="connsiteY19" fmla="*/ 3009900 h 4657272"/>
              <a:gd name="connsiteX20" fmla="*/ 457200 w 4956333"/>
              <a:gd name="connsiteY20" fmla="*/ 3276600 h 4657272"/>
              <a:gd name="connsiteX21" fmla="*/ 285750 w 4956333"/>
              <a:gd name="connsiteY21" fmla="*/ 3600450 h 4657272"/>
              <a:gd name="connsiteX22" fmla="*/ 38100 w 4956333"/>
              <a:gd name="connsiteY22" fmla="*/ 3886200 h 4657272"/>
              <a:gd name="connsiteX23" fmla="*/ 0 w 4956333"/>
              <a:gd name="connsiteY23" fmla="*/ 3638550 h 4657272"/>
              <a:gd name="connsiteX24" fmla="*/ 247650 w 4956333"/>
              <a:gd name="connsiteY24" fmla="*/ 3257550 h 4657272"/>
              <a:gd name="connsiteX25" fmla="*/ 628650 w 4956333"/>
              <a:gd name="connsiteY25" fmla="*/ 2895600 h 4657272"/>
              <a:gd name="connsiteX26" fmla="*/ 1110343 w 4956333"/>
              <a:gd name="connsiteY26" fmla="*/ 2783114 h 4657272"/>
              <a:gd name="connsiteX27" fmla="*/ 1528536 w 4956333"/>
              <a:gd name="connsiteY27" fmla="*/ 2390321 h 4657272"/>
              <a:gd name="connsiteX28" fmla="*/ 1504950 w 4956333"/>
              <a:gd name="connsiteY28" fmla="*/ 1981200 h 4657272"/>
              <a:gd name="connsiteX29" fmla="*/ 1390650 w 4956333"/>
              <a:gd name="connsiteY29" fmla="*/ 1676400 h 4657272"/>
              <a:gd name="connsiteX30" fmla="*/ 1543050 w 4956333"/>
              <a:gd name="connsiteY30" fmla="*/ 1200150 h 4657272"/>
              <a:gd name="connsiteX31" fmla="*/ 1847850 w 4956333"/>
              <a:gd name="connsiteY31" fmla="*/ 971550 h 4657272"/>
              <a:gd name="connsiteX32" fmla="*/ 2343150 w 4956333"/>
              <a:gd name="connsiteY32" fmla="*/ 933450 h 4657272"/>
              <a:gd name="connsiteX33" fmla="*/ 2419350 w 4956333"/>
              <a:gd name="connsiteY33" fmla="*/ 838200 h 4657272"/>
              <a:gd name="connsiteX34" fmla="*/ 2647950 w 4956333"/>
              <a:gd name="connsiteY34" fmla="*/ 0 h 4657272"/>
              <a:gd name="connsiteX35" fmla="*/ 2762250 w 4956333"/>
              <a:gd name="connsiteY35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56278 w 4956333"/>
              <a:gd name="connsiteY16" fmla="*/ 1035958 h 4657272"/>
              <a:gd name="connsiteX17" fmla="*/ 1771650 w 4956333"/>
              <a:gd name="connsiteY17" fmla="*/ 2419350 h 4657272"/>
              <a:gd name="connsiteX18" fmla="*/ 1041400 w 4956333"/>
              <a:gd name="connsiteY18" fmla="*/ 2444750 h 4657272"/>
              <a:gd name="connsiteX19" fmla="*/ 952500 w 4956333"/>
              <a:gd name="connsiteY19" fmla="*/ 3009900 h 4657272"/>
              <a:gd name="connsiteX20" fmla="*/ 457200 w 4956333"/>
              <a:gd name="connsiteY20" fmla="*/ 3276600 h 4657272"/>
              <a:gd name="connsiteX21" fmla="*/ 285750 w 4956333"/>
              <a:gd name="connsiteY21" fmla="*/ 3600450 h 4657272"/>
              <a:gd name="connsiteX22" fmla="*/ 38100 w 4956333"/>
              <a:gd name="connsiteY22" fmla="*/ 3886200 h 4657272"/>
              <a:gd name="connsiteX23" fmla="*/ 0 w 4956333"/>
              <a:gd name="connsiteY23" fmla="*/ 3638550 h 4657272"/>
              <a:gd name="connsiteX24" fmla="*/ 247650 w 4956333"/>
              <a:gd name="connsiteY24" fmla="*/ 3257550 h 4657272"/>
              <a:gd name="connsiteX25" fmla="*/ 628650 w 4956333"/>
              <a:gd name="connsiteY25" fmla="*/ 2895600 h 4657272"/>
              <a:gd name="connsiteX26" fmla="*/ 1110343 w 4956333"/>
              <a:gd name="connsiteY26" fmla="*/ 2783114 h 4657272"/>
              <a:gd name="connsiteX27" fmla="*/ 1528536 w 4956333"/>
              <a:gd name="connsiteY27" fmla="*/ 2390321 h 4657272"/>
              <a:gd name="connsiteX28" fmla="*/ 1504950 w 4956333"/>
              <a:gd name="connsiteY28" fmla="*/ 1981200 h 4657272"/>
              <a:gd name="connsiteX29" fmla="*/ 1390650 w 4956333"/>
              <a:gd name="connsiteY29" fmla="*/ 1676400 h 4657272"/>
              <a:gd name="connsiteX30" fmla="*/ 1543050 w 4956333"/>
              <a:gd name="connsiteY30" fmla="*/ 1200150 h 4657272"/>
              <a:gd name="connsiteX31" fmla="*/ 1847850 w 4956333"/>
              <a:gd name="connsiteY31" fmla="*/ 971550 h 4657272"/>
              <a:gd name="connsiteX32" fmla="*/ 2343150 w 4956333"/>
              <a:gd name="connsiteY32" fmla="*/ 933450 h 4657272"/>
              <a:gd name="connsiteX33" fmla="*/ 2419350 w 4956333"/>
              <a:gd name="connsiteY33" fmla="*/ 838200 h 4657272"/>
              <a:gd name="connsiteX34" fmla="*/ 2647950 w 4956333"/>
              <a:gd name="connsiteY34" fmla="*/ 0 h 4657272"/>
              <a:gd name="connsiteX35" fmla="*/ 2762250 w 4956333"/>
              <a:gd name="connsiteY35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56278 w 4956333"/>
              <a:gd name="connsiteY16" fmla="*/ 1035958 h 4657272"/>
              <a:gd name="connsiteX17" fmla="*/ 1771650 w 4956333"/>
              <a:gd name="connsiteY17" fmla="*/ 2419350 h 4657272"/>
              <a:gd name="connsiteX18" fmla="*/ 1157514 w 4956333"/>
              <a:gd name="connsiteY18" fmla="*/ 2807607 h 4657272"/>
              <a:gd name="connsiteX19" fmla="*/ 952500 w 4956333"/>
              <a:gd name="connsiteY19" fmla="*/ 3009900 h 4657272"/>
              <a:gd name="connsiteX20" fmla="*/ 457200 w 4956333"/>
              <a:gd name="connsiteY20" fmla="*/ 3276600 h 4657272"/>
              <a:gd name="connsiteX21" fmla="*/ 285750 w 4956333"/>
              <a:gd name="connsiteY21" fmla="*/ 3600450 h 4657272"/>
              <a:gd name="connsiteX22" fmla="*/ 38100 w 4956333"/>
              <a:gd name="connsiteY22" fmla="*/ 3886200 h 4657272"/>
              <a:gd name="connsiteX23" fmla="*/ 0 w 4956333"/>
              <a:gd name="connsiteY23" fmla="*/ 3638550 h 4657272"/>
              <a:gd name="connsiteX24" fmla="*/ 247650 w 4956333"/>
              <a:gd name="connsiteY24" fmla="*/ 3257550 h 4657272"/>
              <a:gd name="connsiteX25" fmla="*/ 628650 w 4956333"/>
              <a:gd name="connsiteY25" fmla="*/ 2895600 h 4657272"/>
              <a:gd name="connsiteX26" fmla="*/ 1110343 w 4956333"/>
              <a:gd name="connsiteY26" fmla="*/ 2783114 h 4657272"/>
              <a:gd name="connsiteX27" fmla="*/ 1528536 w 4956333"/>
              <a:gd name="connsiteY27" fmla="*/ 2390321 h 4657272"/>
              <a:gd name="connsiteX28" fmla="*/ 1504950 w 4956333"/>
              <a:gd name="connsiteY28" fmla="*/ 1981200 h 4657272"/>
              <a:gd name="connsiteX29" fmla="*/ 1390650 w 4956333"/>
              <a:gd name="connsiteY29" fmla="*/ 1676400 h 4657272"/>
              <a:gd name="connsiteX30" fmla="*/ 1543050 w 4956333"/>
              <a:gd name="connsiteY30" fmla="*/ 1200150 h 4657272"/>
              <a:gd name="connsiteX31" fmla="*/ 1847850 w 4956333"/>
              <a:gd name="connsiteY31" fmla="*/ 971550 h 4657272"/>
              <a:gd name="connsiteX32" fmla="*/ 2343150 w 4956333"/>
              <a:gd name="connsiteY32" fmla="*/ 933450 h 4657272"/>
              <a:gd name="connsiteX33" fmla="*/ 2419350 w 4956333"/>
              <a:gd name="connsiteY33" fmla="*/ 838200 h 4657272"/>
              <a:gd name="connsiteX34" fmla="*/ 2647950 w 4956333"/>
              <a:gd name="connsiteY34" fmla="*/ 0 h 4657272"/>
              <a:gd name="connsiteX35" fmla="*/ 2762250 w 4956333"/>
              <a:gd name="connsiteY35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56278 w 4956333"/>
              <a:gd name="connsiteY16" fmla="*/ 1035958 h 4657272"/>
              <a:gd name="connsiteX17" fmla="*/ 1771650 w 4956333"/>
              <a:gd name="connsiteY17" fmla="*/ 2419350 h 4657272"/>
              <a:gd name="connsiteX18" fmla="*/ 1157514 w 4956333"/>
              <a:gd name="connsiteY18" fmla="*/ 2807607 h 4657272"/>
              <a:gd name="connsiteX19" fmla="*/ 952500 w 4956333"/>
              <a:gd name="connsiteY19" fmla="*/ 3009900 h 4657272"/>
              <a:gd name="connsiteX20" fmla="*/ 457200 w 4956333"/>
              <a:gd name="connsiteY20" fmla="*/ 3276600 h 4657272"/>
              <a:gd name="connsiteX21" fmla="*/ 285750 w 4956333"/>
              <a:gd name="connsiteY21" fmla="*/ 3600450 h 4657272"/>
              <a:gd name="connsiteX22" fmla="*/ 38100 w 4956333"/>
              <a:gd name="connsiteY22" fmla="*/ 3886200 h 4657272"/>
              <a:gd name="connsiteX23" fmla="*/ 0 w 4956333"/>
              <a:gd name="connsiteY23" fmla="*/ 3638550 h 4657272"/>
              <a:gd name="connsiteX24" fmla="*/ 247650 w 4956333"/>
              <a:gd name="connsiteY24" fmla="*/ 3257550 h 4657272"/>
              <a:gd name="connsiteX25" fmla="*/ 628650 w 4956333"/>
              <a:gd name="connsiteY25" fmla="*/ 2895600 h 4657272"/>
              <a:gd name="connsiteX26" fmla="*/ 1052286 w 4956333"/>
              <a:gd name="connsiteY26" fmla="*/ 2783114 h 4657272"/>
              <a:gd name="connsiteX27" fmla="*/ 1528536 w 4956333"/>
              <a:gd name="connsiteY27" fmla="*/ 2390321 h 4657272"/>
              <a:gd name="connsiteX28" fmla="*/ 1504950 w 4956333"/>
              <a:gd name="connsiteY28" fmla="*/ 1981200 h 4657272"/>
              <a:gd name="connsiteX29" fmla="*/ 1390650 w 4956333"/>
              <a:gd name="connsiteY29" fmla="*/ 1676400 h 4657272"/>
              <a:gd name="connsiteX30" fmla="*/ 1543050 w 4956333"/>
              <a:gd name="connsiteY30" fmla="*/ 1200150 h 4657272"/>
              <a:gd name="connsiteX31" fmla="*/ 1847850 w 4956333"/>
              <a:gd name="connsiteY31" fmla="*/ 971550 h 4657272"/>
              <a:gd name="connsiteX32" fmla="*/ 2343150 w 4956333"/>
              <a:gd name="connsiteY32" fmla="*/ 933450 h 4657272"/>
              <a:gd name="connsiteX33" fmla="*/ 2419350 w 4956333"/>
              <a:gd name="connsiteY33" fmla="*/ 838200 h 4657272"/>
              <a:gd name="connsiteX34" fmla="*/ 2647950 w 4956333"/>
              <a:gd name="connsiteY34" fmla="*/ 0 h 4657272"/>
              <a:gd name="connsiteX35" fmla="*/ 2762250 w 4956333"/>
              <a:gd name="connsiteY35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56278 w 4956333"/>
              <a:gd name="connsiteY16" fmla="*/ 1035958 h 4657272"/>
              <a:gd name="connsiteX17" fmla="*/ 1771650 w 4956333"/>
              <a:gd name="connsiteY17" fmla="*/ 2419350 h 4657272"/>
              <a:gd name="connsiteX18" fmla="*/ 1157514 w 4956333"/>
              <a:gd name="connsiteY18" fmla="*/ 2807607 h 4657272"/>
              <a:gd name="connsiteX19" fmla="*/ 836386 w 4956333"/>
              <a:gd name="connsiteY19" fmla="*/ 3009900 h 4657272"/>
              <a:gd name="connsiteX20" fmla="*/ 457200 w 4956333"/>
              <a:gd name="connsiteY20" fmla="*/ 3276600 h 4657272"/>
              <a:gd name="connsiteX21" fmla="*/ 285750 w 4956333"/>
              <a:gd name="connsiteY21" fmla="*/ 3600450 h 4657272"/>
              <a:gd name="connsiteX22" fmla="*/ 38100 w 4956333"/>
              <a:gd name="connsiteY22" fmla="*/ 3886200 h 4657272"/>
              <a:gd name="connsiteX23" fmla="*/ 0 w 4956333"/>
              <a:gd name="connsiteY23" fmla="*/ 3638550 h 4657272"/>
              <a:gd name="connsiteX24" fmla="*/ 247650 w 4956333"/>
              <a:gd name="connsiteY24" fmla="*/ 3257550 h 4657272"/>
              <a:gd name="connsiteX25" fmla="*/ 628650 w 4956333"/>
              <a:gd name="connsiteY25" fmla="*/ 2895600 h 4657272"/>
              <a:gd name="connsiteX26" fmla="*/ 1052286 w 4956333"/>
              <a:gd name="connsiteY26" fmla="*/ 2783114 h 4657272"/>
              <a:gd name="connsiteX27" fmla="*/ 1528536 w 4956333"/>
              <a:gd name="connsiteY27" fmla="*/ 2390321 h 4657272"/>
              <a:gd name="connsiteX28" fmla="*/ 1504950 w 4956333"/>
              <a:gd name="connsiteY28" fmla="*/ 1981200 h 4657272"/>
              <a:gd name="connsiteX29" fmla="*/ 1390650 w 4956333"/>
              <a:gd name="connsiteY29" fmla="*/ 1676400 h 4657272"/>
              <a:gd name="connsiteX30" fmla="*/ 1543050 w 4956333"/>
              <a:gd name="connsiteY30" fmla="*/ 1200150 h 4657272"/>
              <a:gd name="connsiteX31" fmla="*/ 1847850 w 4956333"/>
              <a:gd name="connsiteY31" fmla="*/ 971550 h 4657272"/>
              <a:gd name="connsiteX32" fmla="*/ 2343150 w 4956333"/>
              <a:gd name="connsiteY32" fmla="*/ 933450 h 4657272"/>
              <a:gd name="connsiteX33" fmla="*/ 2419350 w 4956333"/>
              <a:gd name="connsiteY33" fmla="*/ 838200 h 4657272"/>
              <a:gd name="connsiteX34" fmla="*/ 2647950 w 4956333"/>
              <a:gd name="connsiteY34" fmla="*/ 0 h 4657272"/>
              <a:gd name="connsiteX35" fmla="*/ 2762250 w 4956333"/>
              <a:gd name="connsiteY35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56278 w 4956333"/>
              <a:gd name="connsiteY16" fmla="*/ 1035958 h 4657272"/>
              <a:gd name="connsiteX17" fmla="*/ 1771650 w 4956333"/>
              <a:gd name="connsiteY17" fmla="*/ 2419350 h 4657272"/>
              <a:gd name="connsiteX18" fmla="*/ 1157514 w 4956333"/>
              <a:gd name="connsiteY18" fmla="*/ 2807607 h 4657272"/>
              <a:gd name="connsiteX19" fmla="*/ 836386 w 4956333"/>
              <a:gd name="connsiteY19" fmla="*/ 3009900 h 4657272"/>
              <a:gd name="connsiteX20" fmla="*/ 457200 w 4956333"/>
              <a:gd name="connsiteY20" fmla="*/ 3276600 h 4657272"/>
              <a:gd name="connsiteX21" fmla="*/ 285750 w 4956333"/>
              <a:gd name="connsiteY21" fmla="*/ 3600450 h 4657272"/>
              <a:gd name="connsiteX22" fmla="*/ 38100 w 4956333"/>
              <a:gd name="connsiteY22" fmla="*/ 3886200 h 4657272"/>
              <a:gd name="connsiteX23" fmla="*/ 0 w 4956333"/>
              <a:gd name="connsiteY23" fmla="*/ 3638550 h 4657272"/>
              <a:gd name="connsiteX24" fmla="*/ 247650 w 4956333"/>
              <a:gd name="connsiteY24" fmla="*/ 3257550 h 4657272"/>
              <a:gd name="connsiteX25" fmla="*/ 628650 w 4956333"/>
              <a:gd name="connsiteY25" fmla="*/ 2895600 h 4657272"/>
              <a:gd name="connsiteX26" fmla="*/ 1052286 w 4956333"/>
              <a:gd name="connsiteY26" fmla="*/ 2783114 h 4657272"/>
              <a:gd name="connsiteX27" fmla="*/ 1528536 w 4956333"/>
              <a:gd name="connsiteY27" fmla="*/ 2390321 h 4657272"/>
              <a:gd name="connsiteX28" fmla="*/ 1504950 w 4956333"/>
              <a:gd name="connsiteY28" fmla="*/ 1981200 h 4657272"/>
              <a:gd name="connsiteX29" fmla="*/ 1390650 w 4956333"/>
              <a:gd name="connsiteY29" fmla="*/ 1676400 h 4657272"/>
              <a:gd name="connsiteX30" fmla="*/ 1543050 w 4956333"/>
              <a:gd name="connsiteY30" fmla="*/ 1200150 h 4657272"/>
              <a:gd name="connsiteX31" fmla="*/ 1847850 w 4956333"/>
              <a:gd name="connsiteY31" fmla="*/ 971550 h 4657272"/>
              <a:gd name="connsiteX32" fmla="*/ 2343150 w 4956333"/>
              <a:gd name="connsiteY32" fmla="*/ 933450 h 4657272"/>
              <a:gd name="connsiteX33" fmla="*/ 2419350 w 4956333"/>
              <a:gd name="connsiteY33" fmla="*/ 838200 h 4657272"/>
              <a:gd name="connsiteX34" fmla="*/ 2647950 w 4956333"/>
              <a:gd name="connsiteY34" fmla="*/ 0 h 4657272"/>
              <a:gd name="connsiteX35" fmla="*/ 2762250 w 4956333"/>
              <a:gd name="connsiteY35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56278 w 4956333"/>
              <a:gd name="connsiteY16" fmla="*/ 1035958 h 4657272"/>
              <a:gd name="connsiteX17" fmla="*/ 1771650 w 4956333"/>
              <a:gd name="connsiteY17" fmla="*/ 2419350 h 4657272"/>
              <a:gd name="connsiteX18" fmla="*/ 1157514 w 4956333"/>
              <a:gd name="connsiteY18" fmla="*/ 2807607 h 4657272"/>
              <a:gd name="connsiteX19" fmla="*/ 836386 w 4956333"/>
              <a:gd name="connsiteY19" fmla="*/ 3009900 h 4657272"/>
              <a:gd name="connsiteX20" fmla="*/ 457200 w 4956333"/>
              <a:gd name="connsiteY20" fmla="*/ 3276600 h 4657272"/>
              <a:gd name="connsiteX21" fmla="*/ 285750 w 4956333"/>
              <a:gd name="connsiteY21" fmla="*/ 3600450 h 4657272"/>
              <a:gd name="connsiteX22" fmla="*/ 38100 w 4956333"/>
              <a:gd name="connsiteY22" fmla="*/ 3886200 h 4657272"/>
              <a:gd name="connsiteX23" fmla="*/ 0 w 4956333"/>
              <a:gd name="connsiteY23" fmla="*/ 3638550 h 4657272"/>
              <a:gd name="connsiteX24" fmla="*/ 247650 w 4956333"/>
              <a:gd name="connsiteY24" fmla="*/ 3257550 h 4657272"/>
              <a:gd name="connsiteX25" fmla="*/ 628650 w 4956333"/>
              <a:gd name="connsiteY25" fmla="*/ 2895600 h 4657272"/>
              <a:gd name="connsiteX26" fmla="*/ 1052286 w 4956333"/>
              <a:gd name="connsiteY26" fmla="*/ 2783114 h 4657272"/>
              <a:gd name="connsiteX27" fmla="*/ 1528536 w 4956333"/>
              <a:gd name="connsiteY27" fmla="*/ 2390321 h 4657272"/>
              <a:gd name="connsiteX28" fmla="*/ 1504950 w 4956333"/>
              <a:gd name="connsiteY28" fmla="*/ 1981200 h 4657272"/>
              <a:gd name="connsiteX29" fmla="*/ 1390650 w 4956333"/>
              <a:gd name="connsiteY29" fmla="*/ 1676400 h 4657272"/>
              <a:gd name="connsiteX30" fmla="*/ 1543050 w 4956333"/>
              <a:gd name="connsiteY30" fmla="*/ 1200150 h 4657272"/>
              <a:gd name="connsiteX31" fmla="*/ 1847850 w 4956333"/>
              <a:gd name="connsiteY31" fmla="*/ 971550 h 4657272"/>
              <a:gd name="connsiteX32" fmla="*/ 2343150 w 4956333"/>
              <a:gd name="connsiteY32" fmla="*/ 933450 h 4657272"/>
              <a:gd name="connsiteX33" fmla="*/ 2419350 w 4956333"/>
              <a:gd name="connsiteY33" fmla="*/ 838200 h 4657272"/>
              <a:gd name="connsiteX34" fmla="*/ 2647950 w 4956333"/>
              <a:gd name="connsiteY34" fmla="*/ 0 h 4657272"/>
              <a:gd name="connsiteX35" fmla="*/ 2762250 w 4956333"/>
              <a:gd name="connsiteY35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56278 w 4956333"/>
              <a:gd name="connsiteY16" fmla="*/ 1035958 h 4657272"/>
              <a:gd name="connsiteX17" fmla="*/ 1771650 w 4956333"/>
              <a:gd name="connsiteY17" fmla="*/ 2419350 h 4657272"/>
              <a:gd name="connsiteX18" fmla="*/ 1157514 w 4956333"/>
              <a:gd name="connsiteY18" fmla="*/ 2807607 h 4657272"/>
              <a:gd name="connsiteX19" fmla="*/ 836386 w 4956333"/>
              <a:gd name="connsiteY19" fmla="*/ 3009900 h 4657272"/>
              <a:gd name="connsiteX20" fmla="*/ 457200 w 4956333"/>
              <a:gd name="connsiteY20" fmla="*/ 3276600 h 4657272"/>
              <a:gd name="connsiteX21" fmla="*/ 285750 w 4956333"/>
              <a:gd name="connsiteY21" fmla="*/ 3600450 h 4657272"/>
              <a:gd name="connsiteX22" fmla="*/ 38100 w 4956333"/>
              <a:gd name="connsiteY22" fmla="*/ 3886200 h 4657272"/>
              <a:gd name="connsiteX23" fmla="*/ 0 w 4956333"/>
              <a:gd name="connsiteY23" fmla="*/ 3638550 h 4657272"/>
              <a:gd name="connsiteX24" fmla="*/ 247650 w 4956333"/>
              <a:gd name="connsiteY24" fmla="*/ 3257550 h 4657272"/>
              <a:gd name="connsiteX25" fmla="*/ 628650 w 4956333"/>
              <a:gd name="connsiteY25" fmla="*/ 2895600 h 4657272"/>
              <a:gd name="connsiteX26" fmla="*/ 1052286 w 4956333"/>
              <a:gd name="connsiteY26" fmla="*/ 2783114 h 4657272"/>
              <a:gd name="connsiteX27" fmla="*/ 1528536 w 4956333"/>
              <a:gd name="connsiteY27" fmla="*/ 2390321 h 4657272"/>
              <a:gd name="connsiteX28" fmla="*/ 1504950 w 4956333"/>
              <a:gd name="connsiteY28" fmla="*/ 1981200 h 4657272"/>
              <a:gd name="connsiteX29" fmla="*/ 1390650 w 4956333"/>
              <a:gd name="connsiteY29" fmla="*/ 1676400 h 4657272"/>
              <a:gd name="connsiteX30" fmla="*/ 1543050 w 4956333"/>
              <a:gd name="connsiteY30" fmla="*/ 1200150 h 4657272"/>
              <a:gd name="connsiteX31" fmla="*/ 1847850 w 4956333"/>
              <a:gd name="connsiteY31" fmla="*/ 971550 h 4657272"/>
              <a:gd name="connsiteX32" fmla="*/ 2343150 w 4956333"/>
              <a:gd name="connsiteY32" fmla="*/ 933450 h 4657272"/>
              <a:gd name="connsiteX33" fmla="*/ 2419350 w 4956333"/>
              <a:gd name="connsiteY33" fmla="*/ 838200 h 4657272"/>
              <a:gd name="connsiteX34" fmla="*/ 2647950 w 4956333"/>
              <a:gd name="connsiteY34" fmla="*/ 0 h 4657272"/>
              <a:gd name="connsiteX35" fmla="*/ 2762250 w 4956333"/>
              <a:gd name="connsiteY35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56278 w 4956333"/>
              <a:gd name="connsiteY16" fmla="*/ 1035958 h 4657272"/>
              <a:gd name="connsiteX17" fmla="*/ 1771650 w 4956333"/>
              <a:gd name="connsiteY17" fmla="*/ 2419350 h 4657272"/>
              <a:gd name="connsiteX18" fmla="*/ 1157514 w 4956333"/>
              <a:gd name="connsiteY18" fmla="*/ 2807607 h 4657272"/>
              <a:gd name="connsiteX19" fmla="*/ 836386 w 4956333"/>
              <a:gd name="connsiteY19" fmla="*/ 3009900 h 4657272"/>
              <a:gd name="connsiteX20" fmla="*/ 457200 w 4956333"/>
              <a:gd name="connsiteY20" fmla="*/ 3276600 h 4657272"/>
              <a:gd name="connsiteX21" fmla="*/ 285750 w 4956333"/>
              <a:gd name="connsiteY21" fmla="*/ 3600450 h 4657272"/>
              <a:gd name="connsiteX22" fmla="*/ 38100 w 4956333"/>
              <a:gd name="connsiteY22" fmla="*/ 3886200 h 4657272"/>
              <a:gd name="connsiteX23" fmla="*/ 0 w 4956333"/>
              <a:gd name="connsiteY23" fmla="*/ 3638550 h 4657272"/>
              <a:gd name="connsiteX24" fmla="*/ 247650 w 4956333"/>
              <a:gd name="connsiteY24" fmla="*/ 3257550 h 4657272"/>
              <a:gd name="connsiteX25" fmla="*/ 628650 w 4956333"/>
              <a:gd name="connsiteY25" fmla="*/ 2895600 h 4657272"/>
              <a:gd name="connsiteX26" fmla="*/ 1052286 w 4956333"/>
              <a:gd name="connsiteY26" fmla="*/ 2783114 h 4657272"/>
              <a:gd name="connsiteX27" fmla="*/ 1528536 w 4956333"/>
              <a:gd name="connsiteY27" fmla="*/ 2390321 h 4657272"/>
              <a:gd name="connsiteX28" fmla="*/ 1504950 w 4956333"/>
              <a:gd name="connsiteY28" fmla="*/ 1981200 h 4657272"/>
              <a:gd name="connsiteX29" fmla="*/ 1390650 w 4956333"/>
              <a:gd name="connsiteY29" fmla="*/ 1676400 h 4657272"/>
              <a:gd name="connsiteX30" fmla="*/ 1543050 w 4956333"/>
              <a:gd name="connsiteY30" fmla="*/ 1200150 h 4657272"/>
              <a:gd name="connsiteX31" fmla="*/ 1847850 w 4956333"/>
              <a:gd name="connsiteY31" fmla="*/ 971550 h 4657272"/>
              <a:gd name="connsiteX32" fmla="*/ 2343150 w 4956333"/>
              <a:gd name="connsiteY32" fmla="*/ 933450 h 4657272"/>
              <a:gd name="connsiteX33" fmla="*/ 2419350 w 4956333"/>
              <a:gd name="connsiteY33" fmla="*/ 838200 h 4657272"/>
              <a:gd name="connsiteX34" fmla="*/ 2647950 w 4956333"/>
              <a:gd name="connsiteY34" fmla="*/ 0 h 4657272"/>
              <a:gd name="connsiteX35" fmla="*/ 2762250 w 4956333"/>
              <a:gd name="connsiteY35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56278 w 4956333"/>
              <a:gd name="connsiteY16" fmla="*/ 1035958 h 4657272"/>
              <a:gd name="connsiteX17" fmla="*/ 1771650 w 4956333"/>
              <a:gd name="connsiteY17" fmla="*/ 2419350 h 4657272"/>
              <a:gd name="connsiteX18" fmla="*/ 1157514 w 4956333"/>
              <a:gd name="connsiteY18" fmla="*/ 2807607 h 4657272"/>
              <a:gd name="connsiteX19" fmla="*/ 836386 w 4956333"/>
              <a:gd name="connsiteY19" fmla="*/ 3009900 h 4657272"/>
              <a:gd name="connsiteX20" fmla="*/ 457200 w 4956333"/>
              <a:gd name="connsiteY20" fmla="*/ 3276600 h 4657272"/>
              <a:gd name="connsiteX21" fmla="*/ 285750 w 4956333"/>
              <a:gd name="connsiteY21" fmla="*/ 3600450 h 4657272"/>
              <a:gd name="connsiteX22" fmla="*/ 38100 w 4956333"/>
              <a:gd name="connsiteY22" fmla="*/ 3886200 h 4657272"/>
              <a:gd name="connsiteX23" fmla="*/ 0 w 4956333"/>
              <a:gd name="connsiteY23" fmla="*/ 3638550 h 4657272"/>
              <a:gd name="connsiteX24" fmla="*/ 247650 w 4956333"/>
              <a:gd name="connsiteY24" fmla="*/ 3257550 h 4657272"/>
              <a:gd name="connsiteX25" fmla="*/ 628650 w 4956333"/>
              <a:gd name="connsiteY25" fmla="*/ 2895600 h 4657272"/>
              <a:gd name="connsiteX26" fmla="*/ 1052286 w 4956333"/>
              <a:gd name="connsiteY26" fmla="*/ 2783114 h 4657272"/>
              <a:gd name="connsiteX27" fmla="*/ 1528536 w 4956333"/>
              <a:gd name="connsiteY27" fmla="*/ 2390321 h 4657272"/>
              <a:gd name="connsiteX28" fmla="*/ 1504950 w 4956333"/>
              <a:gd name="connsiteY28" fmla="*/ 1981200 h 4657272"/>
              <a:gd name="connsiteX29" fmla="*/ 1390650 w 4956333"/>
              <a:gd name="connsiteY29" fmla="*/ 1676400 h 4657272"/>
              <a:gd name="connsiteX30" fmla="*/ 1543050 w 4956333"/>
              <a:gd name="connsiteY30" fmla="*/ 1200150 h 4657272"/>
              <a:gd name="connsiteX31" fmla="*/ 1847850 w 4956333"/>
              <a:gd name="connsiteY31" fmla="*/ 971550 h 4657272"/>
              <a:gd name="connsiteX32" fmla="*/ 2343150 w 4956333"/>
              <a:gd name="connsiteY32" fmla="*/ 933450 h 4657272"/>
              <a:gd name="connsiteX33" fmla="*/ 2419350 w 4956333"/>
              <a:gd name="connsiteY33" fmla="*/ 838200 h 4657272"/>
              <a:gd name="connsiteX34" fmla="*/ 2647950 w 4956333"/>
              <a:gd name="connsiteY34" fmla="*/ 0 h 4657272"/>
              <a:gd name="connsiteX35" fmla="*/ 2762250 w 4956333"/>
              <a:gd name="connsiteY35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56278 w 4956333"/>
              <a:gd name="connsiteY16" fmla="*/ 1035958 h 4657272"/>
              <a:gd name="connsiteX17" fmla="*/ 1771650 w 4956333"/>
              <a:gd name="connsiteY17" fmla="*/ 2419350 h 4657272"/>
              <a:gd name="connsiteX18" fmla="*/ 1157514 w 4956333"/>
              <a:gd name="connsiteY18" fmla="*/ 2807607 h 4657272"/>
              <a:gd name="connsiteX19" fmla="*/ 836386 w 4956333"/>
              <a:gd name="connsiteY19" fmla="*/ 3009900 h 4657272"/>
              <a:gd name="connsiteX20" fmla="*/ 457200 w 4956333"/>
              <a:gd name="connsiteY20" fmla="*/ 3276600 h 4657272"/>
              <a:gd name="connsiteX21" fmla="*/ 285750 w 4956333"/>
              <a:gd name="connsiteY21" fmla="*/ 3600450 h 4657272"/>
              <a:gd name="connsiteX22" fmla="*/ 38100 w 4956333"/>
              <a:gd name="connsiteY22" fmla="*/ 3886200 h 4657272"/>
              <a:gd name="connsiteX23" fmla="*/ 0 w 4956333"/>
              <a:gd name="connsiteY23" fmla="*/ 3638550 h 4657272"/>
              <a:gd name="connsiteX24" fmla="*/ 247650 w 4956333"/>
              <a:gd name="connsiteY24" fmla="*/ 3257550 h 4657272"/>
              <a:gd name="connsiteX25" fmla="*/ 628650 w 4956333"/>
              <a:gd name="connsiteY25" fmla="*/ 2895600 h 4657272"/>
              <a:gd name="connsiteX26" fmla="*/ 1052286 w 4956333"/>
              <a:gd name="connsiteY26" fmla="*/ 2783114 h 4657272"/>
              <a:gd name="connsiteX27" fmla="*/ 1528536 w 4956333"/>
              <a:gd name="connsiteY27" fmla="*/ 2390321 h 4657272"/>
              <a:gd name="connsiteX28" fmla="*/ 1504950 w 4956333"/>
              <a:gd name="connsiteY28" fmla="*/ 1981200 h 4657272"/>
              <a:gd name="connsiteX29" fmla="*/ 1390650 w 4956333"/>
              <a:gd name="connsiteY29" fmla="*/ 1676400 h 4657272"/>
              <a:gd name="connsiteX30" fmla="*/ 1543050 w 4956333"/>
              <a:gd name="connsiteY30" fmla="*/ 1200150 h 4657272"/>
              <a:gd name="connsiteX31" fmla="*/ 1847850 w 4956333"/>
              <a:gd name="connsiteY31" fmla="*/ 971550 h 4657272"/>
              <a:gd name="connsiteX32" fmla="*/ 2343150 w 4956333"/>
              <a:gd name="connsiteY32" fmla="*/ 933450 h 4657272"/>
              <a:gd name="connsiteX33" fmla="*/ 2419350 w 4956333"/>
              <a:gd name="connsiteY33" fmla="*/ 838200 h 4657272"/>
              <a:gd name="connsiteX34" fmla="*/ 2647950 w 4956333"/>
              <a:gd name="connsiteY34" fmla="*/ 0 h 4657272"/>
              <a:gd name="connsiteX35" fmla="*/ 2762250 w 4956333"/>
              <a:gd name="connsiteY35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56278 w 4956333"/>
              <a:gd name="connsiteY16" fmla="*/ 1035958 h 4657272"/>
              <a:gd name="connsiteX17" fmla="*/ 1771650 w 4956333"/>
              <a:gd name="connsiteY17" fmla="*/ 2419350 h 4657272"/>
              <a:gd name="connsiteX18" fmla="*/ 1157514 w 4956333"/>
              <a:gd name="connsiteY18" fmla="*/ 2807607 h 4657272"/>
              <a:gd name="connsiteX19" fmla="*/ 836386 w 4956333"/>
              <a:gd name="connsiteY19" fmla="*/ 3009900 h 4657272"/>
              <a:gd name="connsiteX20" fmla="*/ 457200 w 4956333"/>
              <a:gd name="connsiteY20" fmla="*/ 3276600 h 4657272"/>
              <a:gd name="connsiteX21" fmla="*/ 285750 w 4956333"/>
              <a:gd name="connsiteY21" fmla="*/ 3600450 h 4657272"/>
              <a:gd name="connsiteX22" fmla="*/ 38100 w 4956333"/>
              <a:gd name="connsiteY22" fmla="*/ 3886200 h 4657272"/>
              <a:gd name="connsiteX23" fmla="*/ 0 w 4956333"/>
              <a:gd name="connsiteY23" fmla="*/ 3638550 h 4657272"/>
              <a:gd name="connsiteX24" fmla="*/ 247650 w 4956333"/>
              <a:gd name="connsiteY24" fmla="*/ 3257550 h 4657272"/>
              <a:gd name="connsiteX25" fmla="*/ 628650 w 4956333"/>
              <a:gd name="connsiteY25" fmla="*/ 2895600 h 4657272"/>
              <a:gd name="connsiteX26" fmla="*/ 1052286 w 4956333"/>
              <a:gd name="connsiteY26" fmla="*/ 2783114 h 4657272"/>
              <a:gd name="connsiteX27" fmla="*/ 1528536 w 4956333"/>
              <a:gd name="connsiteY27" fmla="*/ 2390321 h 4657272"/>
              <a:gd name="connsiteX28" fmla="*/ 1504950 w 4956333"/>
              <a:gd name="connsiteY28" fmla="*/ 1981200 h 4657272"/>
              <a:gd name="connsiteX29" fmla="*/ 1390650 w 4956333"/>
              <a:gd name="connsiteY29" fmla="*/ 1676400 h 4657272"/>
              <a:gd name="connsiteX30" fmla="*/ 1543050 w 4956333"/>
              <a:gd name="connsiteY30" fmla="*/ 1200150 h 4657272"/>
              <a:gd name="connsiteX31" fmla="*/ 1847850 w 4956333"/>
              <a:gd name="connsiteY31" fmla="*/ 971550 h 4657272"/>
              <a:gd name="connsiteX32" fmla="*/ 2343150 w 4956333"/>
              <a:gd name="connsiteY32" fmla="*/ 933450 h 4657272"/>
              <a:gd name="connsiteX33" fmla="*/ 2419350 w 4956333"/>
              <a:gd name="connsiteY33" fmla="*/ 838200 h 4657272"/>
              <a:gd name="connsiteX34" fmla="*/ 2647950 w 4956333"/>
              <a:gd name="connsiteY34" fmla="*/ 0 h 4657272"/>
              <a:gd name="connsiteX35" fmla="*/ 2762250 w 4956333"/>
              <a:gd name="connsiteY35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56278 w 4956333"/>
              <a:gd name="connsiteY16" fmla="*/ 1035958 h 4657272"/>
              <a:gd name="connsiteX17" fmla="*/ 1771650 w 4956333"/>
              <a:gd name="connsiteY17" fmla="*/ 2419350 h 4657272"/>
              <a:gd name="connsiteX18" fmla="*/ 1157514 w 4956333"/>
              <a:gd name="connsiteY18" fmla="*/ 2807607 h 4657272"/>
              <a:gd name="connsiteX19" fmla="*/ 836386 w 4956333"/>
              <a:gd name="connsiteY19" fmla="*/ 3009900 h 4657272"/>
              <a:gd name="connsiteX20" fmla="*/ 457200 w 4956333"/>
              <a:gd name="connsiteY20" fmla="*/ 3276600 h 4657272"/>
              <a:gd name="connsiteX21" fmla="*/ 285750 w 4956333"/>
              <a:gd name="connsiteY21" fmla="*/ 3600450 h 4657272"/>
              <a:gd name="connsiteX22" fmla="*/ 38100 w 4956333"/>
              <a:gd name="connsiteY22" fmla="*/ 3886200 h 4657272"/>
              <a:gd name="connsiteX23" fmla="*/ 0 w 4956333"/>
              <a:gd name="connsiteY23" fmla="*/ 3638550 h 4657272"/>
              <a:gd name="connsiteX24" fmla="*/ 247650 w 4956333"/>
              <a:gd name="connsiteY24" fmla="*/ 3257550 h 4657272"/>
              <a:gd name="connsiteX25" fmla="*/ 628650 w 4956333"/>
              <a:gd name="connsiteY25" fmla="*/ 2895600 h 4657272"/>
              <a:gd name="connsiteX26" fmla="*/ 1052286 w 4956333"/>
              <a:gd name="connsiteY26" fmla="*/ 2783114 h 4657272"/>
              <a:gd name="connsiteX27" fmla="*/ 1528536 w 4956333"/>
              <a:gd name="connsiteY27" fmla="*/ 2390321 h 4657272"/>
              <a:gd name="connsiteX28" fmla="*/ 1504950 w 4956333"/>
              <a:gd name="connsiteY28" fmla="*/ 1981200 h 4657272"/>
              <a:gd name="connsiteX29" fmla="*/ 1390650 w 4956333"/>
              <a:gd name="connsiteY29" fmla="*/ 1676400 h 4657272"/>
              <a:gd name="connsiteX30" fmla="*/ 1543050 w 4956333"/>
              <a:gd name="connsiteY30" fmla="*/ 1200150 h 4657272"/>
              <a:gd name="connsiteX31" fmla="*/ 1847850 w 4956333"/>
              <a:gd name="connsiteY31" fmla="*/ 971550 h 4657272"/>
              <a:gd name="connsiteX32" fmla="*/ 2343150 w 4956333"/>
              <a:gd name="connsiteY32" fmla="*/ 933450 h 4657272"/>
              <a:gd name="connsiteX33" fmla="*/ 2419350 w 4956333"/>
              <a:gd name="connsiteY33" fmla="*/ 838200 h 4657272"/>
              <a:gd name="connsiteX34" fmla="*/ 2647950 w 4956333"/>
              <a:gd name="connsiteY34" fmla="*/ 0 h 4657272"/>
              <a:gd name="connsiteX35" fmla="*/ 2762250 w 4956333"/>
              <a:gd name="connsiteY35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56278 w 4956333"/>
              <a:gd name="connsiteY16" fmla="*/ 1035958 h 4657272"/>
              <a:gd name="connsiteX17" fmla="*/ 1771650 w 4956333"/>
              <a:gd name="connsiteY17" fmla="*/ 2419350 h 4657272"/>
              <a:gd name="connsiteX18" fmla="*/ 1157514 w 4956333"/>
              <a:gd name="connsiteY18" fmla="*/ 2807607 h 4657272"/>
              <a:gd name="connsiteX19" fmla="*/ 836386 w 4956333"/>
              <a:gd name="connsiteY19" fmla="*/ 3009900 h 4657272"/>
              <a:gd name="connsiteX20" fmla="*/ 457200 w 4956333"/>
              <a:gd name="connsiteY20" fmla="*/ 3276600 h 4657272"/>
              <a:gd name="connsiteX21" fmla="*/ 285750 w 4956333"/>
              <a:gd name="connsiteY21" fmla="*/ 3600450 h 4657272"/>
              <a:gd name="connsiteX22" fmla="*/ 38100 w 4956333"/>
              <a:gd name="connsiteY22" fmla="*/ 3886200 h 4657272"/>
              <a:gd name="connsiteX23" fmla="*/ 0 w 4956333"/>
              <a:gd name="connsiteY23" fmla="*/ 3638550 h 4657272"/>
              <a:gd name="connsiteX24" fmla="*/ 247650 w 4956333"/>
              <a:gd name="connsiteY24" fmla="*/ 3257550 h 4657272"/>
              <a:gd name="connsiteX25" fmla="*/ 628650 w 4956333"/>
              <a:gd name="connsiteY25" fmla="*/ 2895600 h 4657272"/>
              <a:gd name="connsiteX26" fmla="*/ 1052286 w 4956333"/>
              <a:gd name="connsiteY26" fmla="*/ 2783114 h 4657272"/>
              <a:gd name="connsiteX27" fmla="*/ 1528536 w 4956333"/>
              <a:gd name="connsiteY27" fmla="*/ 2390321 h 4657272"/>
              <a:gd name="connsiteX28" fmla="*/ 1504950 w 4956333"/>
              <a:gd name="connsiteY28" fmla="*/ 1981200 h 4657272"/>
              <a:gd name="connsiteX29" fmla="*/ 1390650 w 4956333"/>
              <a:gd name="connsiteY29" fmla="*/ 1676400 h 4657272"/>
              <a:gd name="connsiteX30" fmla="*/ 1543050 w 4956333"/>
              <a:gd name="connsiteY30" fmla="*/ 1200150 h 4657272"/>
              <a:gd name="connsiteX31" fmla="*/ 1847850 w 4956333"/>
              <a:gd name="connsiteY31" fmla="*/ 971550 h 4657272"/>
              <a:gd name="connsiteX32" fmla="*/ 2343150 w 4956333"/>
              <a:gd name="connsiteY32" fmla="*/ 933450 h 4657272"/>
              <a:gd name="connsiteX33" fmla="*/ 2419350 w 4956333"/>
              <a:gd name="connsiteY33" fmla="*/ 838200 h 4657272"/>
              <a:gd name="connsiteX34" fmla="*/ 2647950 w 4956333"/>
              <a:gd name="connsiteY34" fmla="*/ 0 h 4657272"/>
              <a:gd name="connsiteX35" fmla="*/ 2762250 w 4956333"/>
              <a:gd name="connsiteY35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56278 w 4956333"/>
              <a:gd name="connsiteY16" fmla="*/ 1035958 h 4657272"/>
              <a:gd name="connsiteX17" fmla="*/ 1771650 w 4956333"/>
              <a:gd name="connsiteY17" fmla="*/ 2419350 h 4657272"/>
              <a:gd name="connsiteX18" fmla="*/ 1157514 w 4956333"/>
              <a:gd name="connsiteY18" fmla="*/ 2807607 h 4657272"/>
              <a:gd name="connsiteX19" fmla="*/ 836386 w 4956333"/>
              <a:gd name="connsiteY19" fmla="*/ 3009900 h 4657272"/>
              <a:gd name="connsiteX20" fmla="*/ 457200 w 4956333"/>
              <a:gd name="connsiteY20" fmla="*/ 3276600 h 4657272"/>
              <a:gd name="connsiteX21" fmla="*/ 285750 w 4956333"/>
              <a:gd name="connsiteY21" fmla="*/ 3600450 h 4657272"/>
              <a:gd name="connsiteX22" fmla="*/ 38100 w 4956333"/>
              <a:gd name="connsiteY22" fmla="*/ 3886200 h 4657272"/>
              <a:gd name="connsiteX23" fmla="*/ 0 w 4956333"/>
              <a:gd name="connsiteY23" fmla="*/ 3638550 h 4657272"/>
              <a:gd name="connsiteX24" fmla="*/ 247650 w 4956333"/>
              <a:gd name="connsiteY24" fmla="*/ 3257550 h 4657272"/>
              <a:gd name="connsiteX25" fmla="*/ 628650 w 4956333"/>
              <a:gd name="connsiteY25" fmla="*/ 2895600 h 4657272"/>
              <a:gd name="connsiteX26" fmla="*/ 1052286 w 4956333"/>
              <a:gd name="connsiteY26" fmla="*/ 2783114 h 4657272"/>
              <a:gd name="connsiteX27" fmla="*/ 1528536 w 4956333"/>
              <a:gd name="connsiteY27" fmla="*/ 2390321 h 4657272"/>
              <a:gd name="connsiteX28" fmla="*/ 1504950 w 4956333"/>
              <a:gd name="connsiteY28" fmla="*/ 1981200 h 4657272"/>
              <a:gd name="connsiteX29" fmla="*/ 1390650 w 4956333"/>
              <a:gd name="connsiteY29" fmla="*/ 1676400 h 4657272"/>
              <a:gd name="connsiteX30" fmla="*/ 1543050 w 4956333"/>
              <a:gd name="connsiteY30" fmla="*/ 1200150 h 4657272"/>
              <a:gd name="connsiteX31" fmla="*/ 1847850 w 4956333"/>
              <a:gd name="connsiteY31" fmla="*/ 971550 h 4657272"/>
              <a:gd name="connsiteX32" fmla="*/ 2343150 w 4956333"/>
              <a:gd name="connsiteY32" fmla="*/ 933450 h 4657272"/>
              <a:gd name="connsiteX33" fmla="*/ 2419350 w 4956333"/>
              <a:gd name="connsiteY33" fmla="*/ 838200 h 4657272"/>
              <a:gd name="connsiteX34" fmla="*/ 2647950 w 4956333"/>
              <a:gd name="connsiteY34" fmla="*/ 0 h 4657272"/>
              <a:gd name="connsiteX35" fmla="*/ 2762250 w 4956333"/>
              <a:gd name="connsiteY35" fmla="*/ 0 h 4657272"/>
              <a:gd name="connsiteX0" fmla="*/ 2762250 w 4956333"/>
              <a:gd name="connsiteY0" fmla="*/ 0 h 4657272"/>
              <a:gd name="connsiteX1" fmla="*/ 2590800 w 4956333"/>
              <a:gd name="connsiteY1" fmla="*/ 723900 h 4657272"/>
              <a:gd name="connsiteX2" fmla="*/ 2743200 w 4956333"/>
              <a:gd name="connsiteY2" fmla="*/ 1047750 h 4657272"/>
              <a:gd name="connsiteX3" fmla="*/ 3505200 w 4956333"/>
              <a:gd name="connsiteY3" fmla="*/ 1409700 h 4657272"/>
              <a:gd name="connsiteX4" fmla="*/ 4230007 w 4956333"/>
              <a:gd name="connsiteY4" fmla="*/ 2745014 h 4657272"/>
              <a:gd name="connsiteX5" fmla="*/ 4853214 w 4956333"/>
              <a:gd name="connsiteY5" fmla="*/ 3515179 h 4657272"/>
              <a:gd name="connsiteX6" fmla="*/ 4937579 w 4956333"/>
              <a:gd name="connsiteY6" fmla="*/ 4007757 h 4657272"/>
              <a:gd name="connsiteX7" fmla="*/ 4659087 w 4956333"/>
              <a:gd name="connsiteY7" fmla="*/ 4451350 h 4657272"/>
              <a:gd name="connsiteX8" fmla="*/ 4689928 w 4956333"/>
              <a:gd name="connsiteY8" fmla="*/ 4657272 h 4657272"/>
              <a:gd name="connsiteX9" fmla="*/ 4449536 w 4956333"/>
              <a:gd name="connsiteY9" fmla="*/ 4657271 h 4657272"/>
              <a:gd name="connsiteX10" fmla="*/ 4575629 w 4956333"/>
              <a:gd name="connsiteY10" fmla="*/ 4288972 h 4657272"/>
              <a:gd name="connsiteX11" fmla="*/ 4838700 w 4956333"/>
              <a:gd name="connsiteY11" fmla="*/ 3962400 h 4657272"/>
              <a:gd name="connsiteX12" fmla="*/ 4608286 w 4956333"/>
              <a:gd name="connsiteY12" fmla="*/ 3381828 h 4657272"/>
              <a:gd name="connsiteX13" fmla="*/ 4140200 w 4956333"/>
              <a:gd name="connsiteY13" fmla="*/ 2807607 h 4657272"/>
              <a:gd name="connsiteX14" fmla="*/ 3686628 w 4956333"/>
              <a:gd name="connsiteY14" fmla="*/ 1797957 h 4657272"/>
              <a:gd name="connsiteX15" fmla="*/ 2590800 w 4956333"/>
              <a:gd name="connsiteY15" fmla="*/ 1104900 h 4657272"/>
              <a:gd name="connsiteX16" fmla="*/ 2156278 w 4956333"/>
              <a:gd name="connsiteY16" fmla="*/ 1035958 h 4657272"/>
              <a:gd name="connsiteX17" fmla="*/ 1771650 w 4956333"/>
              <a:gd name="connsiteY17" fmla="*/ 2419350 h 4657272"/>
              <a:gd name="connsiteX18" fmla="*/ 1157514 w 4956333"/>
              <a:gd name="connsiteY18" fmla="*/ 2807607 h 4657272"/>
              <a:gd name="connsiteX19" fmla="*/ 836386 w 4956333"/>
              <a:gd name="connsiteY19" fmla="*/ 3009900 h 4657272"/>
              <a:gd name="connsiteX20" fmla="*/ 457200 w 4956333"/>
              <a:gd name="connsiteY20" fmla="*/ 3276600 h 4657272"/>
              <a:gd name="connsiteX21" fmla="*/ 285750 w 4956333"/>
              <a:gd name="connsiteY21" fmla="*/ 3600450 h 4657272"/>
              <a:gd name="connsiteX22" fmla="*/ 38100 w 4956333"/>
              <a:gd name="connsiteY22" fmla="*/ 3886200 h 4657272"/>
              <a:gd name="connsiteX23" fmla="*/ 0 w 4956333"/>
              <a:gd name="connsiteY23" fmla="*/ 3638550 h 4657272"/>
              <a:gd name="connsiteX24" fmla="*/ 247650 w 4956333"/>
              <a:gd name="connsiteY24" fmla="*/ 3257550 h 4657272"/>
              <a:gd name="connsiteX25" fmla="*/ 628650 w 4956333"/>
              <a:gd name="connsiteY25" fmla="*/ 2895600 h 4657272"/>
              <a:gd name="connsiteX26" fmla="*/ 1052286 w 4956333"/>
              <a:gd name="connsiteY26" fmla="*/ 2783114 h 4657272"/>
              <a:gd name="connsiteX27" fmla="*/ 1528536 w 4956333"/>
              <a:gd name="connsiteY27" fmla="*/ 2390321 h 4657272"/>
              <a:gd name="connsiteX28" fmla="*/ 1504950 w 4956333"/>
              <a:gd name="connsiteY28" fmla="*/ 1981200 h 4657272"/>
              <a:gd name="connsiteX29" fmla="*/ 1390650 w 4956333"/>
              <a:gd name="connsiteY29" fmla="*/ 1676400 h 4657272"/>
              <a:gd name="connsiteX30" fmla="*/ 1543050 w 4956333"/>
              <a:gd name="connsiteY30" fmla="*/ 1200150 h 4657272"/>
              <a:gd name="connsiteX31" fmla="*/ 1847850 w 4956333"/>
              <a:gd name="connsiteY31" fmla="*/ 971550 h 4657272"/>
              <a:gd name="connsiteX32" fmla="*/ 2343150 w 4956333"/>
              <a:gd name="connsiteY32" fmla="*/ 933450 h 4657272"/>
              <a:gd name="connsiteX33" fmla="*/ 2419350 w 4956333"/>
              <a:gd name="connsiteY33" fmla="*/ 838200 h 4657272"/>
              <a:gd name="connsiteX34" fmla="*/ 2647950 w 4956333"/>
              <a:gd name="connsiteY34" fmla="*/ 0 h 4657272"/>
              <a:gd name="connsiteX35" fmla="*/ 2762250 w 4956333"/>
              <a:gd name="connsiteY35" fmla="*/ 0 h 4657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4956333" h="4657272">
                <a:moveTo>
                  <a:pt x="2762250" y="0"/>
                </a:moveTo>
                <a:cubicBezTo>
                  <a:pt x="2752725" y="120650"/>
                  <a:pt x="2593975" y="549275"/>
                  <a:pt x="2590800" y="723900"/>
                </a:cubicBezTo>
                <a:cubicBezTo>
                  <a:pt x="2587625" y="898525"/>
                  <a:pt x="2489200" y="927100"/>
                  <a:pt x="2743200" y="1047750"/>
                </a:cubicBezTo>
                <a:cubicBezTo>
                  <a:pt x="2997200" y="1168400"/>
                  <a:pt x="3257399" y="1126823"/>
                  <a:pt x="3505200" y="1409700"/>
                </a:cubicBezTo>
                <a:cubicBezTo>
                  <a:pt x="3753001" y="1692577"/>
                  <a:pt x="4005338" y="2394101"/>
                  <a:pt x="4230007" y="2745014"/>
                </a:cubicBezTo>
                <a:cubicBezTo>
                  <a:pt x="4454676" y="3095927"/>
                  <a:pt x="4735285" y="3304722"/>
                  <a:pt x="4853214" y="3515179"/>
                </a:cubicBezTo>
                <a:cubicBezTo>
                  <a:pt x="4971143" y="3725636"/>
                  <a:pt x="4969934" y="3851729"/>
                  <a:pt x="4937579" y="4007757"/>
                </a:cubicBezTo>
                <a:cubicBezTo>
                  <a:pt x="4905225" y="4163786"/>
                  <a:pt x="4727727" y="4308324"/>
                  <a:pt x="4659087" y="4451350"/>
                </a:cubicBezTo>
                <a:lnTo>
                  <a:pt x="4689928" y="4657272"/>
                </a:lnTo>
                <a:lnTo>
                  <a:pt x="4449536" y="4657271"/>
                </a:lnTo>
                <a:lnTo>
                  <a:pt x="4575629" y="4288972"/>
                </a:lnTo>
                <a:lnTo>
                  <a:pt x="4838700" y="3962400"/>
                </a:lnTo>
                <a:cubicBezTo>
                  <a:pt x="4800600" y="3784600"/>
                  <a:pt x="4724703" y="3574293"/>
                  <a:pt x="4608286" y="3381828"/>
                </a:cubicBezTo>
                <a:cubicBezTo>
                  <a:pt x="4491869" y="3189363"/>
                  <a:pt x="4313162" y="3066748"/>
                  <a:pt x="4140200" y="2807607"/>
                </a:cubicBezTo>
                <a:cubicBezTo>
                  <a:pt x="3962400" y="2521857"/>
                  <a:pt x="3944861" y="2081741"/>
                  <a:pt x="3686628" y="1797957"/>
                </a:cubicBezTo>
                <a:cubicBezTo>
                  <a:pt x="3428395" y="1514173"/>
                  <a:pt x="2828925" y="1181100"/>
                  <a:pt x="2590800" y="1104900"/>
                </a:cubicBezTo>
                <a:lnTo>
                  <a:pt x="2156278" y="1035958"/>
                </a:lnTo>
                <a:cubicBezTo>
                  <a:pt x="2019753" y="1255033"/>
                  <a:pt x="1101121" y="914552"/>
                  <a:pt x="1771650" y="2419350"/>
                </a:cubicBezTo>
                <a:cubicBezTo>
                  <a:pt x="1475015" y="2727779"/>
                  <a:pt x="1367064" y="2731407"/>
                  <a:pt x="1157514" y="2807607"/>
                </a:cubicBezTo>
                <a:lnTo>
                  <a:pt x="836386" y="3009900"/>
                </a:lnTo>
                <a:cubicBezTo>
                  <a:pt x="719667" y="3088066"/>
                  <a:pt x="514350" y="3168650"/>
                  <a:pt x="457200" y="3276600"/>
                </a:cubicBezTo>
                <a:lnTo>
                  <a:pt x="285750" y="3600450"/>
                </a:lnTo>
                <a:cubicBezTo>
                  <a:pt x="228600" y="3708400"/>
                  <a:pt x="85725" y="3879850"/>
                  <a:pt x="38100" y="3886200"/>
                </a:cubicBezTo>
                <a:lnTo>
                  <a:pt x="0" y="3638550"/>
                </a:lnTo>
                <a:cubicBezTo>
                  <a:pt x="34925" y="3533775"/>
                  <a:pt x="142875" y="3381375"/>
                  <a:pt x="247650" y="3257550"/>
                </a:cubicBezTo>
                <a:cubicBezTo>
                  <a:pt x="352425" y="3133725"/>
                  <a:pt x="487438" y="2933095"/>
                  <a:pt x="628650" y="2895600"/>
                </a:cubicBezTo>
                <a:lnTo>
                  <a:pt x="1052286" y="2783114"/>
                </a:lnTo>
                <a:cubicBezTo>
                  <a:pt x="1202267" y="2698901"/>
                  <a:pt x="1536398" y="2526695"/>
                  <a:pt x="1528536" y="2390321"/>
                </a:cubicBezTo>
                <a:lnTo>
                  <a:pt x="1504950" y="1981200"/>
                </a:lnTo>
                <a:cubicBezTo>
                  <a:pt x="1481969" y="1862213"/>
                  <a:pt x="1339850" y="1835150"/>
                  <a:pt x="1390650" y="1676400"/>
                </a:cubicBezTo>
                <a:lnTo>
                  <a:pt x="1543050" y="1200150"/>
                </a:lnTo>
                <a:cubicBezTo>
                  <a:pt x="1619250" y="1082675"/>
                  <a:pt x="1682750" y="984250"/>
                  <a:pt x="1847850" y="971550"/>
                </a:cubicBezTo>
                <a:lnTo>
                  <a:pt x="2343150" y="933450"/>
                </a:lnTo>
                <a:lnTo>
                  <a:pt x="2419350" y="838200"/>
                </a:lnTo>
                <a:lnTo>
                  <a:pt x="2647950" y="0"/>
                </a:lnTo>
                <a:lnTo>
                  <a:pt x="2762250" y="0"/>
                </a:lnTo>
                <a:close/>
              </a:path>
            </a:pathLst>
          </a:custGeom>
          <a:solidFill>
            <a:srgbClr val="81BDF3"/>
          </a:solidFill>
          <a:ln>
            <a:solidFill>
              <a:sysClr val="window" lastClr="FFFFFF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任意多边形: 形状 67">
            <a:extLst>
              <a:ext uri="{FF2B5EF4-FFF2-40B4-BE49-F238E27FC236}">
                <a16:creationId xmlns="" xmlns:a16="http://schemas.microsoft.com/office/drawing/2014/main" id="{9E1984BD-89F5-4B52-AA00-87817F77414A}"/>
              </a:ext>
            </a:extLst>
          </p:cNvPr>
          <p:cNvSpPr/>
          <p:nvPr/>
        </p:nvSpPr>
        <p:spPr>
          <a:xfrm>
            <a:off x="9721879" y="7751702"/>
            <a:ext cx="524224" cy="918475"/>
          </a:xfrm>
          <a:custGeom>
            <a:avLst/>
            <a:gdLst>
              <a:gd name="connsiteX0" fmla="*/ 1603513 w 1603513"/>
              <a:gd name="connsiteY0" fmla="*/ 198782 h 2809461"/>
              <a:gd name="connsiteX1" fmla="*/ 1325217 w 1603513"/>
              <a:gd name="connsiteY1" fmla="*/ 0 h 2809461"/>
              <a:gd name="connsiteX2" fmla="*/ 927652 w 1603513"/>
              <a:gd name="connsiteY2" fmla="*/ 742121 h 2809461"/>
              <a:gd name="connsiteX3" fmla="*/ 357808 w 1603513"/>
              <a:gd name="connsiteY3" fmla="*/ 463826 h 2809461"/>
              <a:gd name="connsiteX4" fmla="*/ 92765 w 1603513"/>
              <a:gd name="connsiteY4" fmla="*/ 1046921 h 2809461"/>
              <a:gd name="connsiteX5" fmla="*/ 0 w 1603513"/>
              <a:gd name="connsiteY5" fmla="*/ 1789043 h 2809461"/>
              <a:gd name="connsiteX6" fmla="*/ 185530 w 1603513"/>
              <a:gd name="connsiteY6" fmla="*/ 2809461 h 2809461"/>
              <a:gd name="connsiteX7" fmla="*/ 304800 w 1603513"/>
              <a:gd name="connsiteY7" fmla="*/ 2796208 h 2809461"/>
              <a:gd name="connsiteX8" fmla="*/ 304800 w 1603513"/>
              <a:gd name="connsiteY8" fmla="*/ 2796208 h 2809461"/>
              <a:gd name="connsiteX9" fmla="*/ 622852 w 1603513"/>
              <a:gd name="connsiteY9" fmla="*/ 2398643 h 2809461"/>
              <a:gd name="connsiteX10" fmla="*/ 1603513 w 1603513"/>
              <a:gd name="connsiteY10" fmla="*/ 198782 h 2809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03513" h="2809461">
                <a:moveTo>
                  <a:pt x="1603513" y="198782"/>
                </a:moveTo>
                <a:lnTo>
                  <a:pt x="1325217" y="0"/>
                </a:lnTo>
                <a:lnTo>
                  <a:pt x="927652" y="742121"/>
                </a:lnTo>
                <a:lnTo>
                  <a:pt x="357808" y="463826"/>
                </a:lnTo>
                <a:lnTo>
                  <a:pt x="92765" y="1046921"/>
                </a:lnTo>
                <a:lnTo>
                  <a:pt x="0" y="1789043"/>
                </a:lnTo>
                <a:lnTo>
                  <a:pt x="185530" y="2809461"/>
                </a:lnTo>
                <a:lnTo>
                  <a:pt x="304800" y="2796208"/>
                </a:lnTo>
                <a:lnTo>
                  <a:pt x="304800" y="2796208"/>
                </a:lnTo>
                <a:lnTo>
                  <a:pt x="622852" y="2398643"/>
                </a:lnTo>
                <a:lnTo>
                  <a:pt x="1603513" y="198782"/>
                </a:lnTo>
                <a:close/>
              </a:path>
            </a:pathLst>
          </a:custGeom>
          <a:noFill/>
          <a:ln w="15875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任意多边形: 形状 30">
            <a:extLst>
              <a:ext uri="{FF2B5EF4-FFF2-40B4-BE49-F238E27FC236}">
                <a16:creationId xmlns="" xmlns:a16="http://schemas.microsoft.com/office/drawing/2014/main" id="{9C949651-4ED0-4CD4-936E-EFC37B14A63C}"/>
              </a:ext>
            </a:extLst>
          </p:cNvPr>
          <p:cNvSpPr/>
          <p:nvPr/>
        </p:nvSpPr>
        <p:spPr>
          <a:xfrm>
            <a:off x="6294380" y="4020441"/>
            <a:ext cx="3951723" cy="3851102"/>
          </a:xfrm>
          <a:custGeom>
            <a:avLst/>
            <a:gdLst>
              <a:gd name="connsiteX0" fmla="*/ 2838450 w 3105150"/>
              <a:gd name="connsiteY0" fmla="*/ 3562350 h 3562350"/>
              <a:gd name="connsiteX1" fmla="*/ 3105150 w 3105150"/>
              <a:gd name="connsiteY1" fmla="*/ 2095500 h 3562350"/>
              <a:gd name="connsiteX2" fmla="*/ 2095500 w 3105150"/>
              <a:gd name="connsiteY2" fmla="*/ 552450 h 3562350"/>
              <a:gd name="connsiteX3" fmla="*/ 857250 w 3105150"/>
              <a:gd name="connsiteY3" fmla="*/ 0 h 3562350"/>
              <a:gd name="connsiteX4" fmla="*/ 152400 w 3105150"/>
              <a:gd name="connsiteY4" fmla="*/ 228600 h 3562350"/>
              <a:gd name="connsiteX5" fmla="*/ 0 w 3105150"/>
              <a:gd name="connsiteY5" fmla="*/ 952500 h 3562350"/>
              <a:gd name="connsiteX6" fmla="*/ 704850 w 3105150"/>
              <a:gd name="connsiteY6" fmla="*/ 1390650 h 3562350"/>
              <a:gd name="connsiteX7" fmla="*/ 1562100 w 3105150"/>
              <a:gd name="connsiteY7" fmla="*/ 1676400 h 3562350"/>
              <a:gd name="connsiteX8" fmla="*/ 2533650 w 3105150"/>
              <a:gd name="connsiteY8" fmla="*/ 2095500 h 3562350"/>
              <a:gd name="connsiteX9" fmla="*/ 2952750 w 3105150"/>
              <a:gd name="connsiteY9" fmla="*/ 2667000 h 3562350"/>
              <a:gd name="connsiteX10" fmla="*/ 2838450 w 3105150"/>
              <a:gd name="connsiteY10" fmla="*/ 3562350 h 3562350"/>
              <a:gd name="connsiteX0" fmla="*/ 2693307 w 2960007"/>
              <a:gd name="connsiteY0" fmla="*/ 3562350 h 3562350"/>
              <a:gd name="connsiteX1" fmla="*/ 2960007 w 2960007"/>
              <a:gd name="connsiteY1" fmla="*/ 2095500 h 3562350"/>
              <a:gd name="connsiteX2" fmla="*/ 1950357 w 2960007"/>
              <a:gd name="connsiteY2" fmla="*/ 552450 h 3562350"/>
              <a:gd name="connsiteX3" fmla="*/ 712107 w 2960007"/>
              <a:gd name="connsiteY3" fmla="*/ 0 h 3562350"/>
              <a:gd name="connsiteX4" fmla="*/ 7257 w 2960007"/>
              <a:gd name="connsiteY4" fmla="*/ 228600 h 3562350"/>
              <a:gd name="connsiteX5" fmla="*/ 0 w 2960007"/>
              <a:gd name="connsiteY5" fmla="*/ 1020248 h 3562350"/>
              <a:gd name="connsiteX6" fmla="*/ 559707 w 2960007"/>
              <a:gd name="connsiteY6" fmla="*/ 1390650 h 3562350"/>
              <a:gd name="connsiteX7" fmla="*/ 1416957 w 2960007"/>
              <a:gd name="connsiteY7" fmla="*/ 1676400 h 3562350"/>
              <a:gd name="connsiteX8" fmla="*/ 2388507 w 2960007"/>
              <a:gd name="connsiteY8" fmla="*/ 2095500 h 3562350"/>
              <a:gd name="connsiteX9" fmla="*/ 2807607 w 2960007"/>
              <a:gd name="connsiteY9" fmla="*/ 2667000 h 3562350"/>
              <a:gd name="connsiteX10" fmla="*/ 2693307 w 2960007"/>
              <a:gd name="connsiteY10" fmla="*/ 3562350 h 3562350"/>
              <a:gd name="connsiteX0" fmla="*/ 2768778 w 3035478"/>
              <a:gd name="connsiteY0" fmla="*/ 3575977 h 3575977"/>
              <a:gd name="connsiteX1" fmla="*/ 3035478 w 3035478"/>
              <a:gd name="connsiteY1" fmla="*/ 2109127 h 3575977"/>
              <a:gd name="connsiteX2" fmla="*/ 2025828 w 3035478"/>
              <a:gd name="connsiteY2" fmla="*/ 566077 h 3575977"/>
              <a:gd name="connsiteX3" fmla="*/ 787578 w 3035478"/>
              <a:gd name="connsiteY3" fmla="*/ 13627 h 3575977"/>
              <a:gd name="connsiteX4" fmla="*/ 82728 w 3035478"/>
              <a:gd name="connsiteY4" fmla="*/ 242227 h 3575977"/>
              <a:gd name="connsiteX5" fmla="*/ 75471 w 3035478"/>
              <a:gd name="connsiteY5" fmla="*/ 1033875 h 3575977"/>
              <a:gd name="connsiteX6" fmla="*/ 635178 w 3035478"/>
              <a:gd name="connsiteY6" fmla="*/ 1404277 h 3575977"/>
              <a:gd name="connsiteX7" fmla="*/ 1492428 w 3035478"/>
              <a:gd name="connsiteY7" fmla="*/ 1690027 h 3575977"/>
              <a:gd name="connsiteX8" fmla="*/ 2463978 w 3035478"/>
              <a:gd name="connsiteY8" fmla="*/ 2109127 h 3575977"/>
              <a:gd name="connsiteX9" fmla="*/ 2883078 w 3035478"/>
              <a:gd name="connsiteY9" fmla="*/ 2680627 h 3575977"/>
              <a:gd name="connsiteX10" fmla="*/ 2768778 w 3035478"/>
              <a:gd name="connsiteY10" fmla="*/ 3575977 h 3575977"/>
              <a:gd name="connsiteX0" fmla="*/ 2768778 w 3035478"/>
              <a:gd name="connsiteY0" fmla="*/ 3575977 h 3575977"/>
              <a:gd name="connsiteX1" fmla="*/ 3035478 w 3035478"/>
              <a:gd name="connsiteY1" fmla="*/ 2109127 h 3575977"/>
              <a:gd name="connsiteX2" fmla="*/ 2025828 w 3035478"/>
              <a:gd name="connsiteY2" fmla="*/ 566077 h 3575977"/>
              <a:gd name="connsiteX3" fmla="*/ 787578 w 3035478"/>
              <a:gd name="connsiteY3" fmla="*/ 13627 h 3575977"/>
              <a:gd name="connsiteX4" fmla="*/ 82728 w 3035478"/>
              <a:gd name="connsiteY4" fmla="*/ 242227 h 3575977"/>
              <a:gd name="connsiteX5" fmla="*/ 75471 w 3035478"/>
              <a:gd name="connsiteY5" fmla="*/ 1033875 h 3575977"/>
              <a:gd name="connsiteX6" fmla="*/ 635178 w 3035478"/>
              <a:gd name="connsiteY6" fmla="*/ 1404277 h 3575977"/>
              <a:gd name="connsiteX7" fmla="*/ 1492428 w 3035478"/>
              <a:gd name="connsiteY7" fmla="*/ 1690027 h 3575977"/>
              <a:gd name="connsiteX8" fmla="*/ 2463978 w 3035478"/>
              <a:gd name="connsiteY8" fmla="*/ 2109127 h 3575977"/>
              <a:gd name="connsiteX9" fmla="*/ 2883078 w 3035478"/>
              <a:gd name="connsiteY9" fmla="*/ 2680627 h 3575977"/>
              <a:gd name="connsiteX10" fmla="*/ 2768778 w 3035478"/>
              <a:gd name="connsiteY10" fmla="*/ 3575977 h 3575977"/>
              <a:gd name="connsiteX0" fmla="*/ 2768778 w 3035478"/>
              <a:gd name="connsiteY0" fmla="*/ 3575977 h 3575977"/>
              <a:gd name="connsiteX1" fmla="*/ 3035478 w 3035478"/>
              <a:gd name="connsiteY1" fmla="*/ 2109127 h 3575977"/>
              <a:gd name="connsiteX2" fmla="*/ 2025828 w 3035478"/>
              <a:gd name="connsiteY2" fmla="*/ 566077 h 3575977"/>
              <a:gd name="connsiteX3" fmla="*/ 787578 w 3035478"/>
              <a:gd name="connsiteY3" fmla="*/ 13627 h 3575977"/>
              <a:gd name="connsiteX4" fmla="*/ 82728 w 3035478"/>
              <a:gd name="connsiteY4" fmla="*/ 242227 h 3575977"/>
              <a:gd name="connsiteX5" fmla="*/ 75471 w 3035478"/>
              <a:gd name="connsiteY5" fmla="*/ 1033875 h 3575977"/>
              <a:gd name="connsiteX6" fmla="*/ 649692 w 3035478"/>
              <a:gd name="connsiteY6" fmla="*/ 1350079 h 3575977"/>
              <a:gd name="connsiteX7" fmla="*/ 1492428 w 3035478"/>
              <a:gd name="connsiteY7" fmla="*/ 1690027 h 3575977"/>
              <a:gd name="connsiteX8" fmla="*/ 2463978 w 3035478"/>
              <a:gd name="connsiteY8" fmla="*/ 2109127 h 3575977"/>
              <a:gd name="connsiteX9" fmla="*/ 2883078 w 3035478"/>
              <a:gd name="connsiteY9" fmla="*/ 2680627 h 3575977"/>
              <a:gd name="connsiteX10" fmla="*/ 2768778 w 3035478"/>
              <a:gd name="connsiteY10" fmla="*/ 3575977 h 3575977"/>
              <a:gd name="connsiteX0" fmla="*/ 2768778 w 3035478"/>
              <a:gd name="connsiteY0" fmla="*/ 3575977 h 3575977"/>
              <a:gd name="connsiteX1" fmla="*/ 3035478 w 3035478"/>
              <a:gd name="connsiteY1" fmla="*/ 2109127 h 3575977"/>
              <a:gd name="connsiteX2" fmla="*/ 2025828 w 3035478"/>
              <a:gd name="connsiteY2" fmla="*/ 566077 h 3575977"/>
              <a:gd name="connsiteX3" fmla="*/ 787578 w 3035478"/>
              <a:gd name="connsiteY3" fmla="*/ 13627 h 3575977"/>
              <a:gd name="connsiteX4" fmla="*/ 82728 w 3035478"/>
              <a:gd name="connsiteY4" fmla="*/ 242227 h 3575977"/>
              <a:gd name="connsiteX5" fmla="*/ 75471 w 3035478"/>
              <a:gd name="connsiteY5" fmla="*/ 1033875 h 3575977"/>
              <a:gd name="connsiteX6" fmla="*/ 649692 w 3035478"/>
              <a:gd name="connsiteY6" fmla="*/ 1350079 h 3575977"/>
              <a:gd name="connsiteX7" fmla="*/ 1492428 w 3035478"/>
              <a:gd name="connsiteY7" fmla="*/ 1690027 h 3575977"/>
              <a:gd name="connsiteX8" fmla="*/ 2463978 w 3035478"/>
              <a:gd name="connsiteY8" fmla="*/ 2109127 h 3575977"/>
              <a:gd name="connsiteX9" fmla="*/ 2883078 w 3035478"/>
              <a:gd name="connsiteY9" fmla="*/ 2680627 h 3575977"/>
              <a:gd name="connsiteX10" fmla="*/ 2768778 w 3035478"/>
              <a:gd name="connsiteY10" fmla="*/ 3575977 h 3575977"/>
              <a:gd name="connsiteX0" fmla="*/ 2768778 w 3035478"/>
              <a:gd name="connsiteY0" fmla="*/ 3575977 h 3575977"/>
              <a:gd name="connsiteX1" fmla="*/ 3035478 w 3035478"/>
              <a:gd name="connsiteY1" fmla="*/ 2109127 h 3575977"/>
              <a:gd name="connsiteX2" fmla="*/ 2025828 w 3035478"/>
              <a:gd name="connsiteY2" fmla="*/ 566077 h 3575977"/>
              <a:gd name="connsiteX3" fmla="*/ 787578 w 3035478"/>
              <a:gd name="connsiteY3" fmla="*/ 13627 h 3575977"/>
              <a:gd name="connsiteX4" fmla="*/ 82728 w 3035478"/>
              <a:gd name="connsiteY4" fmla="*/ 242227 h 3575977"/>
              <a:gd name="connsiteX5" fmla="*/ 75471 w 3035478"/>
              <a:gd name="connsiteY5" fmla="*/ 1033875 h 3575977"/>
              <a:gd name="connsiteX6" fmla="*/ 649692 w 3035478"/>
              <a:gd name="connsiteY6" fmla="*/ 1350079 h 3575977"/>
              <a:gd name="connsiteX7" fmla="*/ 1492428 w 3035478"/>
              <a:gd name="connsiteY7" fmla="*/ 1690027 h 3575977"/>
              <a:gd name="connsiteX8" fmla="*/ 2551064 w 3035478"/>
              <a:gd name="connsiteY8" fmla="*/ 2082028 h 3575977"/>
              <a:gd name="connsiteX9" fmla="*/ 2883078 w 3035478"/>
              <a:gd name="connsiteY9" fmla="*/ 2680627 h 3575977"/>
              <a:gd name="connsiteX10" fmla="*/ 2768778 w 3035478"/>
              <a:gd name="connsiteY10" fmla="*/ 3575977 h 3575977"/>
              <a:gd name="connsiteX0" fmla="*/ 2768778 w 3061028"/>
              <a:gd name="connsiteY0" fmla="*/ 3575977 h 3575977"/>
              <a:gd name="connsiteX1" fmla="*/ 3035478 w 3061028"/>
              <a:gd name="connsiteY1" fmla="*/ 2109127 h 3575977"/>
              <a:gd name="connsiteX2" fmla="*/ 2025828 w 3061028"/>
              <a:gd name="connsiteY2" fmla="*/ 566077 h 3575977"/>
              <a:gd name="connsiteX3" fmla="*/ 787578 w 3061028"/>
              <a:gd name="connsiteY3" fmla="*/ 13627 h 3575977"/>
              <a:gd name="connsiteX4" fmla="*/ 82728 w 3061028"/>
              <a:gd name="connsiteY4" fmla="*/ 242227 h 3575977"/>
              <a:gd name="connsiteX5" fmla="*/ 75471 w 3061028"/>
              <a:gd name="connsiteY5" fmla="*/ 1033875 h 3575977"/>
              <a:gd name="connsiteX6" fmla="*/ 649692 w 3061028"/>
              <a:gd name="connsiteY6" fmla="*/ 1350079 h 3575977"/>
              <a:gd name="connsiteX7" fmla="*/ 1492428 w 3061028"/>
              <a:gd name="connsiteY7" fmla="*/ 1690027 h 3575977"/>
              <a:gd name="connsiteX8" fmla="*/ 2551064 w 3061028"/>
              <a:gd name="connsiteY8" fmla="*/ 2082028 h 3575977"/>
              <a:gd name="connsiteX9" fmla="*/ 2883078 w 3061028"/>
              <a:gd name="connsiteY9" fmla="*/ 2680627 h 3575977"/>
              <a:gd name="connsiteX10" fmla="*/ 2768778 w 3061028"/>
              <a:gd name="connsiteY10" fmla="*/ 3575977 h 3575977"/>
              <a:gd name="connsiteX0" fmla="*/ 2768778 w 3061028"/>
              <a:gd name="connsiteY0" fmla="*/ 3575977 h 3575977"/>
              <a:gd name="connsiteX1" fmla="*/ 3035478 w 3061028"/>
              <a:gd name="connsiteY1" fmla="*/ 2109127 h 3575977"/>
              <a:gd name="connsiteX2" fmla="*/ 2025828 w 3061028"/>
              <a:gd name="connsiteY2" fmla="*/ 566077 h 3575977"/>
              <a:gd name="connsiteX3" fmla="*/ 787578 w 3061028"/>
              <a:gd name="connsiteY3" fmla="*/ 13627 h 3575977"/>
              <a:gd name="connsiteX4" fmla="*/ 82728 w 3061028"/>
              <a:gd name="connsiteY4" fmla="*/ 242227 h 3575977"/>
              <a:gd name="connsiteX5" fmla="*/ 75471 w 3061028"/>
              <a:gd name="connsiteY5" fmla="*/ 1033875 h 3575977"/>
              <a:gd name="connsiteX6" fmla="*/ 649692 w 3061028"/>
              <a:gd name="connsiteY6" fmla="*/ 1350079 h 3575977"/>
              <a:gd name="connsiteX7" fmla="*/ 1492428 w 3061028"/>
              <a:gd name="connsiteY7" fmla="*/ 1690027 h 3575977"/>
              <a:gd name="connsiteX8" fmla="*/ 2551064 w 3061028"/>
              <a:gd name="connsiteY8" fmla="*/ 2082028 h 3575977"/>
              <a:gd name="connsiteX9" fmla="*/ 2883078 w 3061028"/>
              <a:gd name="connsiteY9" fmla="*/ 2680627 h 3575977"/>
              <a:gd name="connsiteX10" fmla="*/ 2768778 w 3061028"/>
              <a:gd name="connsiteY10" fmla="*/ 3575977 h 3575977"/>
              <a:gd name="connsiteX0" fmla="*/ 2725235 w 3058785"/>
              <a:gd name="connsiteY0" fmla="*/ 3210140 h 3210140"/>
              <a:gd name="connsiteX1" fmla="*/ 3035478 w 3058785"/>
              <a:gd name="connsiteY1" fmla="*/ 2109127 h 3210140"/>
              <a:gd name="connsiteX2" fmla="*/ 2025828 w 3058785"/>
              <a:gd name="connsiteY2" fmla="*/ 566077 h 3210140"/>
              <a:gd name="connsiteX3" fmla="*/ 787578 w 3058785"/>
              <a:gd name="connsiteY3" fmla="*/ 13627 h 3210140"/>
              <a:gd name="connsiteX4" fmla="*/ 82728 w 3058785"/>
              <a:gd name="connsiteY4" fmla="*/ 242227 h 3210140"/>
              <a:gd name="connsiteX5" fmla="*/ 75471 w 3058785"/>
              <a:gd name="connsiteY5" fmla="*/ 1033875 h 3210140"/>
              <a:gd name="connsiteX6" fmla="*/ 649692 w 3058785"/>
              <a:gd name="connsiteY6" fmla="*/ 1350079 h 3210140"/>
              <a:gd name="connsiteX7" fmla="*/ 1492428 w 3058785"/>
              <a:gd name="connsiteY7" fmla="*/ 1690027 h 3210140"/>
              <a:gd name="connsiteX8" fmla="*/ 2551064 w 3058785"/>
              <a:gd name="connsiteY8" fmla="*/ 2082028 h 3210140"/>
              <a:gd name="connsiteX9" fmla="*/ 2883078 w 3058785"/>
              <a:gd name="connsiteY9" fmla="*/ 2680627 h 3210140"/>
              <a:gd name="connsiteX10" fmla="*/ 2725235 w 3058785"/>
              <a:gd name="connsiteY10" fmla="*/ 3210140 h 3210140"/>
              <a:gd name="connsiteX0" fmla="*/ 2725235 w 3100446"/>
              <a:gd name="connsiteY0" fmla="*/ 3210140 h 3210140"/>
              <a:gd name="connsiteX1" fmla="*/ 3079021 w 3100446"/>
              <a:gd name="connsiteY1" fmla="*/ 2176875 h 3210140"/>
              <a:gd name="connsiteX2" fmla="*/ 2025828 w 3100446"/>
              <a:gd name="connsiteY2" fmla="*/ 566077 h 3210140"/>
              <a:gd name="connsiteX3" fmla="*/ 787578 w 3100446"/>
              <a:gd name="connsiteY3" fmla="*/ 13627 h 3210140"/>
              <a:gd name="connsiteX4" fmla="*/ 82728 w 3100446"/>
              <a:gd name="connsiteY4" fmla="*/ 242227 h 3210140"/>
              <a:gd name="connsiteX5" fmla="*/ 75471 w 3100446"/>
              <a:gd name="connsiteY5" fmla="*/ 1033875 h 3210140"/>
              <a:gd name="connsiteX6" fmla="*/ 649692 w 3100446"/>
              <a:gd name="connsiteY6" fmla="*/ 1350079 h 3210140"/>
              <a:gd name="connsiteX7" fmla="*/ 1492428 w 3100446"/>
              <a:gd name="connsiteY7" fmla="*/ 1690027 h 3210140"/>
              <a:gd name="connsiteX8" fmla="*/ 2551064 w 3100446"/>
              <a:gd name="connsiteY8" fmla="*/ 2082028 h 3210140"/>
              <a:gd name="connsiteX9" fmla="*/ 2883078 w 3100446"/>
              <a:gd name="connsiteY9" fmla="*/ 2680627 h 3210140"/>
              <a:gd name="connsiteX10" fmla="*/ 2725235 w 3100446"/>
              <a:gd name="connsiteY10" fmla="*/ 3210140 h 3210140"/>
              <a:gd name="connsiteX0" fmla="*/ 2725235 w 2883078"/>
              <a:gd name="connsiteY0" fmla="*/ 3210140 h 3210140"/>
              <a:gd name="connsiteX1" fmla="*/ 2025828 w 2883078"/>
              <a:gd name="connsiteY1" fmla="*/ 566077 h 3210140"/>
              <a:gd name="connsiteX2" fmla="*/ 787578 w 2883078"/>
              <a:gd name="connsiteY2" fmla="*/ 13627 h 3210140"/>
              <a:gd name="connsiteX3" fmla="*/ 82728 w 2883078"/>
              <a:gd name="connsiteY3" fmla="*/ 242227 h 3210140"/>
              <a:gd name="connsiteX4" fmla="*/ 75471 w 2883078"/>
              <a:gd name="connsiteY4" fmla="*/ 1033875 h 3210140"/>
              <a:gd name="connsiteX5" fmla="*/ 649692 w 2883078"/>
              <a:gd name="connsiteY5" fmla="*/ 1350079 h 3210140"/>
              <a:gd name="connsiteX6" fmla="*/ 1492428 w 2883078"/>
              <a:gd name="connsiteY6" fmla="*/ 1690027 h 3210140"/>
              <a:gd name="connsiteX7" fmla="*/ 2551064 w 2883078"/>
              <a:gd name="connsiteY7" fmla="*/ 2082028 h 3210140"/>
              <a:gd name="connsiteX8" fmla="*/ 2883078 w 2883078"/>
              <a:gd name="connsiteY8" fmla="*/ 2680627 h 3210140"/>
              <a:gd name="connsiteX9" fmla="*/ 2725235 w 2883078"/>
              <a:gd name="connsiteY9" fmla="*/ 3210140 h 3210140"/>
              <a:gd name="connsiteX0" fmla="*/ 2725235 w 3023593"/>
              <a:gd name="connsiteY0" fmla="*/ 3210140 h 3210140"/>
              <a:gd name="connsiteX1" fmla="*/ 2025828 w 3023593"/>
              <a:gd name="connsiteY1" fmla="*/ 566077 h 3210140"/>
              <a:gd name="connsiteX2" fmla="*/ 787578 w 3023593"/>
              <a:gd name="connsiteY2" fmla="*/ 13627 h 3210140"/>
              <a:gd name="connsiteX3" fmla="*/ 82728 w 3023593"/>
              <a:gd name="connsiteY3" fmla="*/ 242227 h 3210140"/>
              <a:gd name="connsiteX4" fmla="*/ 75471 w 3023593"/>
              <a:gd name="connsiteY4" fmla="*/ 1033875 h 3210140"/>
              <a:gd name="connsiteX5" fmla="*/ 649692 w 3023593"/>
              <a:gd name="connsiteY5" fmla="*/ 1350079 h 3210140"/>
              <a:gd name="connsiteX6" fmla="*/ 1492428 w 3023593"/>
              <a:gd name="connsiteY6" fmla="*/ 1690027 h 3210140"/>
              <a:gd name="connsiteX7" fmla="*/ 2551064 w 3023593"/>
              <a:gd name="connsiteY7" fmla="*/ 2082028 h 3210140"/>
              <a:gd name="connsiteX8" fmla="*/ 2883078 w 3023593"/>
              <a:gd name="connsiteY8" fmla="*/ 2680627 h 3210140"/>
              <a:gd name="connsiteX9" fmla="*/ 2725235 w 3023593"/>
              <a:gd name="connsiteY9" fmla="*/ 3210140 h 3210140"/>
              <a:gd name="connsiteX0" fmla="*/ 2725235 w 3002483"/>
              <a:gd name="connsiteY0" fmla="*/ 3210140 h 3210140"/>
              <a:gd name="connsiteX1" fmla="*/ 1880685 w 3002483"/>
              <a:gd name="connsiteY1" fmla="*/ 511879 h 3210140"/>
              <a:gd name="connsiteX2" fmla="*/ 787578 w 3002483"/>
              <a:gd name="connsiteY2" fmla="*/ 13627 h 3210140"/>
              <a:gd name="connsiteX3" fmla="*/ 82728 w 3002483"/>
              <a:gd name="connsiteY3" fmla="*/ 242227 h 3210140"/>
              <a:gd name="connsiteX4" fmla="*/ 75471 w 3002483"/>
              <a:gd name="connsiteY4" fmla="*/ 1033875 h 3210140"/>
              <a:gd name="connsiteX5" fmla="*/ 649692 w 3002483"/>
              <a:gd name="connsiteY5" fmla="*/ 1350079 h 3210140"/>
              <a:gd name="connsiteX6" fmla="*/ 1492428 w 3002483"/>
              <a:gd name="connsiteY6" fmla="*/ 1690027 h 3210140"/>
              <a:gd name="connsiteX7" fmla="*/ 2551064 w 3002483"/>
              <a:gd name="connsiteY7" fmla="*/ 2082028 h 3210140"/>
              <a:gd name="connsiteX8" fmla="*/ 2883078 w 3002483"/>
              <a:gd name="connsiteY8" fmla="*/ 2680627 h 3210140"/>
              <a:gd name="connsiteX9" fmla="*/ 2725235 w 3002483"/>
              <a:gd name="connsiteY9" fmla="*/ 3210140 h 3210140"/>
              <a:gd name="connsiteX0" fmla="*/ 2725235 w 2883078"/>
              <a:gd name="connsiteY0" fmla="*/ 3210140 h 3210140"/>
              <a:gd name="connsiteX1" fmla="*/ 1880685 w 2883078"/>
              <a:gd name="connsiteY1" fmla="*/ 511879 h 3210140"/>
              <a:gd name="connsiteX2" fmla="*/ 787578 w 2883078"/>
              <a:gd name="connsiteY2" fmla="*/ 13627 h 3210140"/>
              <a:gd name="connsiteX3" fmla="*/ 82728 w 2883078"/>
              <a:gd name="connsiteY3" fmla="*/ 242227 h 3210140"/>
              <a:gd name="connsiteX4" fmla="*/ 75471 w 2883078"/>
              <a:gd name="connsiteY4" fmla="*/ 1033875 h 3210140"/>
              <a:gd name="connsiteX5" fmla="*/ 649692 w 2883078"/>
              <a:gd name="connsiteY5" fmla="*/ 1350079 h 3210140"/>
              <a:gd name="connsiteX6" fmla="*/ 1492428 w 2883078"/>
              <a:gd name="connsiteY6" fmla="*/ 1690027 h 3210140"/>
              <a:gd name="connsiteX7" fmla="*/ 2551064 w 2883078"/>
              <a:gd name="connsiteY7" fmla="*/ 2082028 h 3210140"/>
              <a:gd name="connsiteX8" fmla="*/ 2883078 w 2883078"/>
              <a:gd name="connsiteY8" fmla="*/ 2680627 h 3210140"/>
              <a:gd name="connsiteX9" fmla="*/ 2725235 w 2883078"/>
              <a:gd name="connsiteY9" fmla="*/ 3210140 h 3210140"/>
              <a:gd name="connsiteX0" fmla="*/ 2725235 w 2883078"/>
              <a:gd name="connsiteY0" fmla="*/ 3210140 h 3210140"/>
              <a:gd name="connsiteX1" fmla="*/ 1880685 w 2883078"/>
              <a:gd name="connsiteY1" fmla="*/ 511879 h 3210140"/>
              <a:gd name="connsiteX2" fmla="*/ 787578 w 2883078"/>
              <a:gd name="connsiteY2" fmla="*/ 13627 h 3210140"/>
              <a:gd name="connsiteX3" fmla="*/ 82728 w 2883078"/>
              <a:gd name="connsiteY3" fmla="*/ 242227 h 3210140"/>
              <a:gd name="connsiteX4" fmla="*/ 75471 w 2883078"/>
              <a:gd name="connsiteY4" fmla="*/ 1033875 h 3210140"/>
              <a:gd name="connsiteX5" fmla="*/ 649692 w 2883078"/>
              <a:gd name="connsiteY5" fmla="*/ 1350079 h 3210140"/>
              <a:gd name="connsiteX6" fmla="*/ 1492428 w 2883078"/>
              <a:gd name="connsiteY6" fmla="*/ 1690027 h 3210140"/>
              <a:gd name="connsiteX7" fmla="*/ 2551064 w 2883078"/>
              <a:gd name="connsiteY7" fmla="*/ 2082028 h 3210140"/>
              <a:gd name="connsiteX8" fmla="*/ 2883078 w 2883078"/>
              <a:gd name="connsiteY8" fmla="*/ 2680627 h 3210140"/>
              <a:gd name="connsiteX9" fmla="*/ 2725235 w 2883078"/>
              <a:gd name="connsiteY9" fmla="*/ 3210140 h 3210140"/>
              <a:gd name="connsiteX0" fmla="*/ 2725235 w 2996787"/>
              <a:gd name="connsiteY0" fmla="*/ 3210140 h 3210140"/>
              <a:gd name="connsiteX1" fmla="*/ 1880685 w 2996787"/>
              <a:gd name="connsiteY1" fmla="*/ 511879 h 3210140"/>
              <a:gd name="connsiteX2" fmla="*/ 787578 w 2996787"/>
              <a:gd name="connsiteY2" fmla="*/ 13627 h 3210140"/>
              <a:gd name="connsiteX3" fmla="*/ 82728 w 2996787"/>
              <a:gd name="connsiteY3" fmla="*/ 242227 h 3210140"/>
              <a:gd name="connsiteX4" fmla="*/ 75471 w 2996787"/>
              <a:gd name="connsiteY4" fmla="*/ 1033875 h 3210140"/>
              <a:gd name="connsiteX5" fmla="*/ 649692 w 2996787"/>
              <a:gd name="connsiteY5" fmla="*/ 1350079 h 3210140"/>
              <a:gd name="connsiteX6" fmla="*/ 1492428 w 2996787"/>
              <a:gd name="connsiteY6" fmla="*/ 1690027 h 3210140"/>
              <a:gd name="connsiteX7" fmla="*/ 2551064 w 2996787"/>
              <a:gd name="connsiteY7" fmla="*/ 2082028 h 3210140"/>
              <a:gd name="connsiteX8" fmla="*/ 2883078 w 2996787"/>
              <a:gd name="connsiteY8" fmla="*/ 2680627 h 3210140"/>
              <a:gd name="connsiteX9" fmla="*/ 2725235 w 2996787"/>
              <a:gd name="connsiteY9" fmla="*/ 3210140 h 3210140"/>
              <a:gd name="connsiteX0" fmla="*/ 2725235 w 2996787"/>
              <a:gd name="connsiteY0" fmla="*/ 3210140 h 3210140"/>
              <a:gd name="connsiteX1" fmla="*/ 1880685 w 2996787"/>
              <a:gd name="connsiteY1" fmla="*/ 511879 h 3210140"/>
              <a:gd name="connsiteX2" fmla="*/ 787578 w 2996787"/>
              <a:gd name="connsiteY2" fmla="*/ 13627 h 3210140"/>
              <a:gd name="connsiteX3" fmla="*/ 82728 w 2996787"/>
              <a:gd name="connsiteY3" fmla="*/ 242227 h 3210140"/>
              <a:gd name="connsiteX4" fmla="*/ 75471 w 2996787"/>
              <a:gd name="connsiteY4" fmla="*/ 1033875 h 3210140"/>
              <a:gd name="connsiteX5" fmla="*/ 649692 w 2996787"/>
              <a:gd name="connsiteY5" fmla="*/ 1350079 h 3210140"/>
              <a:gd name="connsiteX6" fmla="*/ 1492428 w 2996787"/>
              <a:gd name="connsiteY6" fmla="*/ 1690027 h 3210140"/>
              <a:gd name="connsiteX7" fmla="*/ 2551064 w 2996787"/>
              <a:gd name="connsiteY7" fmla="*/ 2082028 h 3210140"/>
              <a:gd name="connsiteX8" fmla="*/ 2883078 w 2996787"/>
              <a:gd name="connsiteY8" fmla="*/ 2680627 h 3210140"/>
              <a:gd name="connsiteX9" fmla="*/ 2725235 w 2996787"/>
              <a:gd name="connsiteY9" fmla="*/ 3210140 h 3210140"/>
              <a:gd name="connsiteX0" fmla="*/ 2725235 w 3182611"/>
              <a:gd name="connsiteY0" fmla="*/ 3210140 h 3210140"/>
              <a:gd name="connsiteX1" fmla="*/ 1880685 w 3182611"/>
              <a:gd name="connsiteY1" fmla="*/ 511879 h 3210140"/>
              <a:gd name="connsiteX2" fmla="*/ 787578 w 3182611"/>
              <a:gd name="connsiteY2" fmla="*/ 13627 h 3210140"/>
              <a:gd name="connsiteX3" fmla="*/ 82728 w 3182611"/>
              <a:gd name="connsiteY3" fmla="*/ 242227 h 3210140"/>
              <a:gd name="connsiteX4" fmla="*/ 75471 w 3182611"/>
              <a:gd name="connsiteY4" fmla="*/ 1033875 h 3210140"/>
              <a:gd name="connsiteX5" fmla="*/ 649692 w 3182611"/>
              <a:gd name="connsiteY5" fmla="*/ 1350079 h 3210140"/>
              <a:gd name="connsiteX6" fmla="*/ 1492428 w 3182611"/>
              <a:gd name="connsiteY6" fmla="*/ 1690027 h 3210140"/>
              <a:gd name="connsiteX7" fmla="*/ 2551064 w 3182611"/>
              <a:gd name="connsiteY7" fmla="*/ 2082028 h 3210140"/>
              <a:gd name="connsiteX8" fmla="*/ 2883078 w 3182611"/>
              <a:gd name="connsiteY8" fmla="*/ 2680627 h 3210140"/>
              <a:gd name="connsiteX9" fmla="*/ 2725235 w 3182611"/>
              <a:gd name="connsiteY9" fmla="*/ 3210140 h 3210140"/>
              <a:gd name="connsiteX0" fmla="*/ 2826835 w 3236013"/>
              <a:gd name="connsiteY0" fmla="*/ 3250789 h 3250789"/>
              <a:gd name="connsiteX1" fmla="*/ 1880685 w 3236013"/>
              <a:gd name="connsiteY1" fmla="*/ 511879 h 3250789"/>
              <a:gd name="connsiteX2" fmla="*/ 787578 w 3236013"/>
              <a:gd name="connsiteY2" fmla="*/ 13627 h 3250789"/>
              <a:gd name="connsiteX3" fmla="*/ 82728 w 3236013"/>
              <a:gd name="connsiteY3" fmla="*/ 242227 h 3250789"/>
              <a:gd name="connsiteX4" fmla="*/ 75471 w 3236013"/>
              <a:gd name="connsiteY4" fmla="*/ 1033875 h 3250789"/>
              <a:gd name="connsiteX5" fmla="*/ 649692 w 3236013"/>
              <a:gd name="connsiteY5" fmla="*/ 1350079 h 3250789"/>
              <a:gd name="connsiteX6" fmla="*/ 1492428 w 3236013"/>
              <a:gd name="connsiteY6" fmla="*/ 1690027 h 3250789"/>
              <a:gd name="connsiteX7" fmla="*/ 2551064 w 3236013"/>
              <a:gd name="connsiteY7" fmla="*/ 2082028 h 3250789"/>
              <a:gd name="connsiteX8" fmla="*/ 2883078 w 3236013"/>
              <a:gd name="connsiteY8" fmla="*/ 2680627 h 3250789"/>
              <a:gd name="connsiteX9" fmla="*/ 2826835 w 3236013"/>
              <a:gd name="connsiteY9" fmla="*/ 3250789 h 3250789"/>
              <a:gd name="connsiteX0" fmla="*/ 2826835 w 3236013"/>
              <a:gd name="connsiteY0" fmla="*/ 3250789 h 3250789"/>
              <a:gd name="connsiteX1" fmla="*/ 1880685 w 3236013"/>
              <a:gd name="connsiteY1" fmla="*/ 511879 h 3250789"/>
              <a:gd name="connsiteX2" fmla="*/ 787578 w 3236013"/>
              <a:gd name="connsiteY2" fmla="*/ 13627 h 3250789"/>
              <a:gd name="connsiteX3" fmla="*/ 82728 w 3236013"/>
              <a:gd name="connsiteY3" fmla="*/ 242227 h 3250789"/>
              <a:gd name="connsiteX4" fmla="*/ 75471 w 3236013"/>
              <a:gd name="connsiteY4" fmla="*/ 1033875 h 3250789"/>
              <a:gd name="connsiteX5" fmla="*/ 649692 w 3236013"/>
              <a:gd name="connsiteY5" fmla="*/ 1350079 h 3250789"/>
              <a:gd name="connsiteX6" fmla="*/ 1492428 w 3236013"/>
              <a:gd name="connsiteY6" fmla="*/ 1690027 h 3250789"/>
              <a:gd name="connsiteX7" fmla="*/ 2551064 w 3236013"/>
              <a:gd name="connsiteY7" fmla="*/ 2082028 h 3250789"/>
              <a:gd name="connsiteX8" fmla="*/ 2883078 w 3236013"/>
              <a:gd name="connsiteY8" fmla="*/ 2680627 h 3250789"/>
              <a:gd name="connsiteX9" fmla="*/ 2826835 w 3236013"/>
              <a:gd name="connsiteY9" fmla="*/ 3250789 h 3250789"/>
              <a:gd name="connsiteX0" fmla="*/ 2754263 w 3197518"/>
              <a:gd name="connsiteY0" fmla="*/ 3223690 h 3223690"/>
              <a:gd name="connsiteX1" fmla="*/ 1880685 w 3197518"/>
              <a:gd name="connsiteY1" fmla="*/ 511879 h 3223690"/>
              <a:gd name="connsiteX2" fmla="*/ 787578 w 3197518"/>
              <a:gd name="connsiteY2" fmla="*/ 13627 h 3223690"/>
              <a:gd name="connsiteX3" fmla="*/ 82728 w 3197518"/>
              <a:gd name="connsiteY3" fmla="*/ 242227 h 3223690"/>
              <a:gd name="connsiteX4" fmla="*/ 75471 w 3197518"/>
              <a:gd name="connsiteY4" fmla="*/ 1033875 h 3223690"/>
              <a:gd name="connsiteX5" fmla="*/ 649692 w 3197518"/>
              <a:gd name="connsiteY5" fmla="*/ 1350079 h 3223690"/>
              <a:gd name="connsiteX6" fmla="*/ 1492428 w 3197518"/>
              <a:gd name="connsiteY6" fmla="*/ 1690027 h 3223690"/>
              <a:gd name="connsiteX7" fmla="*/ 2551064 w 3197518"/>
              <a:gd name="connsiteY7" fmla="*/ 2082028 h 3223690"/>
              <a:gd name="connsiteX8" fmla="*/ 2883078 w 3197518"/>
              <a:gd name="connsiteY8" fmla="*/ 2680627 h 3223690"/>
              <a:gd name="connsiteX9" fmla="*/ 2754263 w 3197518"/>
              <a:gd name="connsiteY9" fmla="*/ 3223690 h 3223690"/>
              <a:gd name="connsiteX0" fmla="*/ 2754263 w 3115376"/>
              <a:gd name="connsiteY0" fmla="*/ 3223690 h 3223690"/>
              <a:gd name="connsiteX1" fmla="*/ 1880685 w 3115376"/>
              <a:gd name="connsiteY1" fmla="*/ 511879 h 3223690"/>
              <a:gd name="connsiteX2" fmla="*/ 787578 w 3115376"/>
              <a:gd name="connsiteY2" fmla="*/ 13627 h 3223690"/>
              <a:gd name="connsiteX3" fmla="*/ 82728 w 3115376"/>
              <a:gd name="connsiteY3" fmla="*/ 242227 h 3223690"/>
              <a:gd name="connsiteX4" fmla="*/ 75471 w 3115376"/>
              <a:gd name="connsiteY4" fmla="*/ 1033875 h 3223690"/>
              <a:gd name="connsiteX5" fmla="*/ 649692 w 3115376"/>
              <a:gd name="connsiteY5" fmla="*/ 1350079 h 3223690"/>
              <a:gd name="connsiteX6" fmla="*/ 1492428 w 3115376"/>
              <a:gd name="connsiteY6" fmla="*/ 1690027 h 3223690"/>
              <a:gd name="connsiteX7" fmla="*/ 2551064 w 3115376"/>
              <a:gd name="connsiteY7" fmla="*/ 2082028 h 3223690"/>
              <a:gd name="connsiteX8" fmla="*/ 2883078 w 3115376"/>
              <a:gd name="connsiteY8" fmla="*/ 2680627 h 3223690"/>
              <a:gd name="connsiteX9" fmla="*/ 2754263 w 3115376"/>
              <a:gd name="connsiteY9" fmla="*/ 3223690 h 3223690"/>
              <a:gd name="connsiteX0" fmla="*/ 2754263 w 2950668"/>
              <a:gd name="connsiteY0" fmla="*/ 3223690 h 3223690"/>
              <a:gd name="connsiteX1" fmla="*/ 1880685 w 2950668"/>
              <a:gd name="connsiteY1" fmla="*/ 511879 h 3223690"/>
              <a:gd name="connsiteX2" fmla="*/ 787578 w 2950668"/>
              <a:gd name="connsiteY2" fmla="*/ 13627 h 3223690"/>
              <a:gd name="connsiteX3" fmla="*/ 82728 w 2950668"/>
              <a:gd name="connsiteY3" fmla="*/ 242227 h 3223690"/>
              <a:gd name="connsiteX4" fmla="*/ 75471 w 2950668"/>
              <a:gd name="connsiteY4" fmla="*/ 1033875 h 3223690"/>
              <a:gd name="connsiteX5" fmla="*/ 649692 w 2950668"/>
              <a:gd name="connsiteY5" fmla="*/ 1350079 h 3223690"/>
              <a:gd name="connsiteX6" fmla="*/ 1492428 w 2950668"/>
              <a:gd name="connsiteY6" fmla="*/ 1690027 h 3223690"/>
              <a:gd name="connsiteX7" fmla="*/ 2551064 w 2950668"/>
              <a:gd name="connsiteY7" fmla="*/ 2082028 h 3223690"/>
              <a:gd name="connsiteX8" fmla="*/ 2883078 w 2950668"/>
              <a:gd name="connsiteY8" fmla="*/ 2680627 h 3223690"/>
              <a:gd name="connsiteX9" fmla="*/ 2754263 w 2950668"/>
              <a:gd name="connsiteY9" fmla="*/ 3223690 h 3223690"/>
              <a:gd name="connsiteX0" fmla="*/ 2754263 w 2975244"/>
              <a:gd name="connsiteY0" fmla="*/ 3223690 h 3223690"/>
              <a:gd name="connsiteX1" fmla="*/ 1880685 w 2975244"/>
              <a:gd name="connsiteY1" fmla="*/ 511879 h 3223690"/>
              <a:gd name="connsiteX2" fmla="*/ 787578 w 2975244"/>
              <a:gd name="connsiteY2" fmla="*/ 13627 h 3223690"/>
              <a:gd name="connsiteX3" fmla="*/ 82728 w 2975244"/>
              <a:gd name="connsiteY3" fmla="*/ 242227 h 3223690"/>
              <a:gd name="connsiteX4" fmla="*/ 75471 w 2975244"/>
              <a:gd name="connsiteY4" fmla="*/ 1033875 h 3223690"/>
              <a:gd name="connsiteX5" fmla="*/ 649692 w 2975244"/>
              <a:gd name="connsiteY5" fmla="*/ 1350079 h 3223690"/>
              <a:gd name="connsiteX6" fmla="*/ 1492428 w 2975244"/>
              <a:gd name="connsiteY6" fmla="*/ 1690027 h 3223690"/>
              <a:gd name="connsiteX7" fmla="*/ 2551064 w 2975244"/>
              <a:gd name="connsiteY7" fmla="*/ 2082028 h 3223690"/>
              <a:gd name="connsiteX8" fmla="*/ 2883078 w 2975244"/>
              <a:gd name="connsiteY8" fmla="*/ 2680627 h 3223690"/>
              <a:gd name="connsiteX9" fmla="*/ 2754263 w 2975244"/>
              <a:gd name="connsiteY9" fmla="*/ 3223690 h 3223690"/>
              <a:gd name="connsiteX0" fmla="*/ 2986491 w 3148994"/>
              <a:gd name="connsiteY0" fmla="*/ 2654610 h 2716990"/>
              <a:gd name="connsiteX1" fmla="*/ 1880685 w 3148994"/>
              <a:gd name="connsiteY1" fmla="*/ 511879 h 2716990"/>
              <a:gd name="connsiteX2" fmla="*/ 787578 w 3148994"/>
              <a:gd name="connsiteY2" fmla="*/ 13627 h 2716990"/>
              <a:gd name="connsiteX3" fmla="*/ 82728 w 3148994"/>
              <a:gd name="connsiteY3" fmla="*/ 242227 h 2716990"/>
              <a:gd name="connsiteX4" fmla="*/ 75471 w 3148994"/>
              <a:gd name="connsiteY4" fmla="*/ 1033875 h 2716990"/>
              <a:gd name="connsiteX5" fmla="*/ 649692 w 3148994"/>
              <a:gd name="connsiteY5" fmla="*/ 1350079 h 2716990"/>
              <a:gd name="connsiteX6" fmla="*/ 1492428 w 3148994"/>
              <a:gd name="connsiteY6" fmla="*/ 1690027 h 2716990"/>
              <a:gd name="connsiteX7" fmla="*/ 2551064 w 3148994"/>
              <a:gd name="connsiteY7" fmla="*/ 2082028 h 2716990"/>
              <a:gd name="connsiteX8" fmla="*/ 2883078 w 3148994"/>
              <a:gd name="connsiteY8" fmla="*/ 2680627 h 2716990"/>
              <a:gd name="connsiteX9" fmla="*/ 2986491 w 3148994"/>
              <a:gd name="connsiteY9" fmla="*/ 2654610 h 2716990"/>
              <a:gd name="connsiteX0" fmla="*/ 2986491 w 2986491"/>
              <a:gd name="connsiteY0" fmla="*/ 2654610 h 2716990"/>
              <a:gd name="connsiteX1" fmla="*/ 1880685 w 2986491"/>
              <a:gd name="connsiteY1" fmla="*/ 511879 h 2716990"/>
              <a:gd name="connsiteX2" fmla="*/ 787578 w 2986491"/>
              <a:gd name="connsiteY2" fmla="*/ 13627 h 2716990"/>
              <a:gd name="connsiteX3" fmla="*/ 82728 w 2986491"/>
              <a:gd name="connsiteY3" fmla="*/ 242227 h 2716990"/>
              <a:gd name="connsiteX4" fmla="*/ 75471 w 2986491"/>
              <a:gd name="connsiteY4" fmla="*/ 1033875 h 2716990"/>
              <a:gd name="connsiteX5" fmla="*/ 649692 w 2986491"/>
              <a:gd name="connsiteY5" fmla="*/ 1350079 h 2716990"/>
              <a:gd name="connsiteX6" fmla="*/ 1492428 w 2986491"/>
              <a:gd name="connsiteY6" fmla="*/ 1690027 h 2716990"/>
              <a:gd name="connsiteX7" fmla="*/ 2551064 w 2986491"/>
              <a:gd name="connsiteY7" fmla="*/ 2082028 h 2716990"/>
              <a:gd name="connsiteX8" fmla="*/ 2883078 w 2986491"/>
              <a:gd name="connsiteY8" fmla="*/ 2680627 h 2716990"/>
              <a:gd name="connsiteX9" fmla="*/ 2986491 w 2986491"/>
              <a:gd name="connsiteY9" fmla="*/ 2654610 h 2716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86491" h="2716990">
                <a:moveTo>
                  <a:pt x="2986491" y="2654610"/>
                </a:moveTo>
                <a:cubicBezTo>
                  <a:pt x="2790397" y="1846018"/>
                  <a:pt x="3173967" y="2520699"/>
                  <a:pt x="1880685" y="511879"/>
                </a:cubicBezTo>
                <a:cubicBezTo>
                  <a:pt x="1197002" y="20606"/>
                  <a:pt x="1151947" y="179711"/>
                  <a:pt x="787578" y="13627"/>
                </a:cubicBezTo>
                <a:cubicBezTo>
                  <a:pt x="463728" y="-40348"/>
                  <a:pt x="201412" y="72186"/>
                  <a:pt x="82728" y="242227"/>
                </a:cubicBezTo>
                <a:cubicBezTo>
                  <a:pt x="-35956" y="412268"/>
                  <a:pt x="-16604" y="840200"/>
                  <a:pt x="75471" y="1033875"/>
                </a:cubicBezTo>
                <a:lnTo>
                  <a:pt x="649692" y="1350079"/>
                </a:lnTo>
                <a:cubicBezTo>
                  <a:pt x="836261" y="1473546"/>
                  <a:pt x="1187628" y="1572552"/>
                  <a:pt x="1492428" y="1690027"/>
                </a:cubicBezTo>
                <a:lnTo>
                  <a:pt x="2551064" y="2082028"/>
                </a:lnTo>
                <a:cubicBezTo>
                  <a:pt x="2874914" y="2221728"/>
                  <a:pt x="2832278" y="2436152"/>
                  <a:pt x="2883078" y="2680627"/>
                </a:cubicBezTo>
                <a:cubicBezTo>
                  <a:pt x="2830464" y="2857131"/>
                  <a:pt x="2952019" y="2315512"/>
                  <a:pt x="2986491" y="2654610"/>
                </a:cubicBezTo>
                <a:close/>
              </a:path>
            </a:pathLst>
          </a:custGeom>
          <a:solidFill>
            <a:srgbClr val="B560D4">
              <a:alpha val="40000"/>
            </a:srgbClr>
          </a:solidFill>
          <a:ln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任意多边形: 形状 32">
            <a:extLst>
              <a:ext uri="{FF2B5EF4-FFF2-40B4-BE49-F238E27FC236}">
                <a16:creationId xmlns="" xmlns:a16="http://schemas.microsoft.com/office/drawing/2014/main" id="{34A6140A-D3BB-49CD-B9F8-EE664C7E51B2}"/>
              </a:ext>
            </a:extLst>
          </p:cNvPr>
          <p:cNvSpPr/>
          <p:nvPr/>
        </p:nvSpPr>
        <p:spPr>
          <a:xfrm>
            <a:off x="7582466" y="2620638"/>
            <a:ext cx="1764486" cy="1667231"/>
          </a:xfrm>
          <a:custGeom>
            <a:avLst/>
            <a:gdLst>
              <a:gd name="connsiteX0" fmla="*/ 1143000 w 1333500"/>
              <a:gd name="connsiteY0" fmla="*/ 1352550 h 1543050"/>
              <a:gd name="connsiteX1" fmla="*/ 1333500 w 1333500"/>
              <a:gd name="connsiteY1" fmla="*/ 590550 h 1543050"/>
              <a:gd name="connsiteX2" fmla="*/ 1009650 w 1333500"/>
              <a:gd name="connsiteY2" fmla="*/ 0 h 1543050"/>
              <a:gd name="connsiteX3" fmla="*/ 190500 w 1333500"/>
              <a:gd name="connsiteY3" fmla="*/ 0 h 1543050"/>
              <a:gd name="connsiteX4" fmla="*/ 0 w 1333500"/>
              <a:gd name="connsiteY4" fmla="*/ 590550 h 1543050"/>
              <a:gd name="connsiteX5" fmla="*/ 95250 w 1333500"/>
              <a:gd name="connsiteY5" fmla="*/ 1104900 h 1543050"/>
              <a:gd name="connsiteX6" fmla="*/ 1104900 w 1333500"/>
              <a:gd name="connsiteY6" fmla="*/ 1543050 h 154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33500" h="1543050">
                <a:moveTo>
                  <a:pt x="1143000" y="1352550"/>
                </a:moveTo>
                <a:lnTo>
                  <a:pt x="1333500" y="590550"/>
                </a:lnTo>
                <a:lnTo>
                  <a:pt x="1009650" y="0"/>
                </a:lnTo>
                <a:lnTo>
                  <a:pt x="190500" y="0"/>
                </a:lnTo>
                <a:lnTo>
                  <a:pt x="0" y="590550"/>
                </a:lnTo>
                <a:lnTo>
                  <a:pt x="95250" y="1104900"/>
                </a:lnTo>
                <a:lnTo>
                  <a:pt x="1104900" y="1543050"/>
                </a:lnTo>
              </a:path>
            </a:pathLst>
          </a:custGeom>
          <a:solidFill>
            <a:srgbClr val="0070C0">
              <a:alpha val="40000"/>
            </a:srgbClr>
          </a:solidFill>
          <a:ln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defTabSz="4572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zh-CN" altLang="en-US" sz="1200" b="1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任意多边形: 形状 34">
            <a:extLst>
              <a:ext uri="{FF2B5EF4-FFF2-40B4-BE49-F238E27FC236}">
                <a16:creationId xmlns="" xmlns:a16="http://schemas.microsoft.com/office/drawing/2014/main" id="{64C497E0-F9B0-4B9F-958C-2ECCCA115DC4}"/>
              </a:ext>
            </a:extLst>
          </p:cNvPr>
          <p:cNvSpPr/>
          <p:nvPr/>
        </p:nvSpPr>
        <p:spPr>
          <a:xfrm>
            <a:off x="6826258" y="2620638"/>
            <a:ext cx="806622" cy="1047974"/>
          </a:xfrm>
          <a:custGeom>
            <a:avLst/>
            <a:gdLst>
              <a:gd name="connsiteX0" fmla="*/ 342900 w 609600"/>
              <a:gd name="connsiteY0" fmla="*/ 781050 h 857250"/>
              <a:gd name="connsiteX1" fmla="*/ 609600 w 609600"/>
              <a:gd name="connsiteY1" fmla="*/ 57150 h 857250"/>
              <a:gd name="connsiteX2" fmla="*/ 0 w 609600"/>
              <a:gd name="connsiteY2" fmla="*/ 0 h 857250"/>
              <a:gd name="connsiteX3" fmla="*/ 152400 w 609600"/>
              <a:gd name="connsiteY3" fmla="*/ 400050 h 857250"/>
              <a:gd name="connsiteX4" fmla="*/ 95250 w 609600"/>
              <a:gd name="connsiteY4" fmla="*/ 857250 h 857250"/>
              <a:gd name="connsiteX5" fmla="*/ 342900 w 609600"/>
              <a:gd name="connsiteY5" fmla="*/ 85725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" h="857250">
                <a:moveTo>
                  <a:pt x="342900" y="781050"/>
                </a:moveTo>
                <a:lnTo>
                  <a:pt x="609600" y="57150"/>
                </a:lnTo>
                <a:lnTo>
                  <a:pt x="0" y="0"/>
                </a:lnTo>
                <a:lnTo>
                  <a:pt x="152400" y="400050"/>
                </a:lnTo>
                <a:lnTo>
                  <a:pt x="95250" y="857250"/>
                </a:lnTo>
                <a:lnTo>
                  <a:pt x="342900" y="857250"/>
                </a:lnTo>
              </a:path>
            </a:pathLst>
          </a:custGeom>
          <a:solidFill>
            <a:srgbClr val="FF0000">
              <a:alpha val="40000"/>
            </a:srgbClr>
          </a:solidFill>
          <a:ln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defTabSz="4572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zh-CN" altLang="en-US" sz="1200" b="1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任意多边形: 形状 35">
            <a:extLst>
              <a:ext uri="{FF2B5EF4-FFF2-40B4-BE49-F238E27FC236}">
                <a16:creationId xmlns="" xmlns:a16="http://schemas.microsoft.com/office/drawing/2014/main" id="{10D53295-6EDF-4690-A417-8618395FA6EC}"/>
              </a:ext>
            </a:extLst>
          </p:cNvPr>
          <p:cNvSpPr/>
          <p:nvPr/>
        </p:nvSpPr>
        <p:spPr>
          <a:xfrm>
            <a:off x="4930935" y="3385348"/>
            <a:ext cx="1949336" cy="2854387"/>
          </a:xfrm>
          <a:custGeom>
            <a:avLst/>
            <a:gdLst>
              <a:gd name="connsiteX0" fmla="*/ 2114550 w 2114550"/>
              <a:gd name="connsiteY0" fmla="*/ 361950 h 3409950"/>
              <a:gd name="connsiteX1" fmla="*/ 1466850 w 2114550"/>
              <a:gd name="connsiteY1" fmla="*/ 838200 h 3409950"/>
              <a:gd name="connsiteX2" fmla="*/ 1428750 w 2114550"/>
              <a:gd name="connsiteY2" fmla="*/ 1257300 h 3409950"/>
              <a:gd name="connsiteX3" fmla="*/ 1543050 w 2114550"/>
              <a:gd name="connsiteY3" fmla="*/ 1638300 h 3409950"/>
              <a:gd name="connsiteX4" fmla="*/ 1562100 w 2114550"/>
              <a:gd name="connsiteY4" fmla="*/ 2019300 h 3409950"/>
              <a:gd name="connsiteX5" fmla="*/ 609600 w 2114550"/>
              <a:gd name="connsiteY5" fmla="*/ 2895600 h 3409950"/>
              <a:gd name="connsiteX6" fmla="*/ 419100 w 2114550"/>
              <a:gd name="connsiteY6" fmla="*/ 3409950 h 3409950"/>
              <a:gd name="connsiteX7" fmla="*/ 19050 w 2114550"/>
              <a:gd name="connsiteY7" fmla="*/ 3409950 h 3409950"/>
              <a:gd name="connsiteX8" fmla="*/ 0 w 2114550"/>
              <a:gd name="connsiteY8" fmla="*/ 2381250 h 3409950"/>
              <a:gd name="connsiteX9" fmla="*/ 342900 w 2114550"/>
              <a:gd name="connsiteY9" fmla="*/ 2076450 h 3409950"/>
              <a:gd name="connsiteX10" fmla="*/ 742950 w 2114550"/>
              <a:gd name="connsiteY10" fmla="*/ 1866900 h 3409950"/>
              <a:gd name="connsiteX11" fmla="*/ 781050 w 2114550"/>
              <a:gd name="connsiteY11" fmla="*/ 1276350 h 3409950"/>
              <a:gd name="connsiteX12" fmla="*/ 819150 w 2114550"/>
              <a:gd name="connsiteY12" fmla="*/ 628650 h 3409950"/>
              <a:gd name="connsiteX13" fmla="*/ 1066800 w 2114550"/>
              <a:gd name="connsiteY13" fmla="*/ 304800 h 3409950"/>
              <a:gd name="connsiteX14" fmla="*/ 1333500 w 2114550"/>
              <a:gd name="connsiteY14" fmla="*/ 0 h 3409950"/>
              <a:gd name="connsiteX15" fmla="*/ 1962150 w 2114550"/>
              <a:gd name="connsiteY15" fmla="*/ 152400 h 3409950"/>
              <a:gd name="connsiteX16" fmla="*/ 2114550 w 2114550"/>
              <a:gd name="connsiteY16" fmla="*/ 361950 h 3409950"/>
              <a:gd name="connsiteX0" fmla="*/ 2114550 w 2114550"/>
              <a:gd name="connsiteY0" fmla="*/ 361950 h 3409950"/>
              <a:gd name="connsiteX1" fmla="*/ 1466850 w 2114550"/>
              <a:gd name="connsiteY1" fmla="*/ 838200 h 3409950"/>
              <a:gd name="connsiteX2" fmla="*/ 1428750 w 2114550"/>
              <a:gd name="connsiteY2" fmla="*/ 1257300 h 3409950"/>
              <a:gd name="connsiteX3" fmla="*/ 1543050 w 2114550"/>
              <a:gd name="connsiteY3" fmla="*/ 1638300 h 3409950"/>
              <a:gd name="connsiteX4" fmla="*/ 1219200 w 2114550"/>
              <a:gd name="connsiteY4" fmla="*/ 1752600 h 3409950"/>
              <a:gd name="connsiteX5" fmla="*/ 609600 w 2114550"/>
              <a:gd name="connsiteY5" fmla="*/ 2895600 h 3409950"/>
              <a:gd name="connsiteX6" fmla="*/ 419100 w 2114550"/>
              <a:gd name="connsiteY6" fmla="*/ 3409950 h 3409950"/>
              <a:gd name="connsiteX7" fmla="*/ 19050 w 2114550"/>
              <a:gd name="connsiteY7" fmla="*/ 3409950 h 3409950"/>
              <a:gd name="connsiteX8" fmla="*/ 0 w 2114550"/>
              <a:gd name="connsiteY8" fmla="*/ 2381250 h 3409950"/>
              <a:gd name="connsiteX9" fmla="*/ 342900 w 2114550"/>
              <a:gd name="connsiteY9" fmla="*/ 2076450 h 3409950"/>
              <a:gd name="connsiteX10" fmla="*/ 742950 w 2114550"/>
              <a:gd name="connsiteY10" fmla="*/ 1866900 h 3409950"/>
              <a:gd name="connsiteX11" fmla="*/ 781050 w 2114550"/>
              <a:gd name="connsiteY11" fmla="*/ 1276350 h 3409950"/>
              <a:gd name="connsiteX12" fmla="*/ 819150 w 2114550"/>
              <a:gd name="connsiteY12" fmla="*/ 628650 h 3409950"/>
              <a:gd name="connsiteX13" fmla="*/ 1066800 w 2114550"/>
              <a:gd name="connsiteY13" fmla="*/ 304800 h 3409950"/>
              <a:gd name="connsiteX14" fmla="*/ 1333500 w 2114550"/>
              <a:gd name="connsiteY14" fmla="*/ 0 h 3409950"/>
              <a:gd name="connsiteX15" fmla="*/ 1962150 w 2114550"/>
              <a:gd name="connsiteY15" fmla="*/ 152400 h 3409950"/>
              <a:gd name="connsiteX16" fmla="*/ 2114550 w 2114550"/>
              <a:gd name="connsiteY16" fmla="*/ 361950 h 3409950"/>
              <a:gd name="connsiteX0" fmla="*/ 2114550 w 2114550"/>
              <a:gd name="connsiteY0" fmla="*/ 361950 h 3409950"/>
              <a:gd name="connsiteX1" fmla="*/ 1466850 w 2114550"/>
              <a:gd name="connsiteY1" fmla="*/ 838200 h 3409950"/>
              <a:gd name="connsiteX2" fmla="*/ 1428750 w 2114550"/>
              <a:gd name="connsiteY2" fmla="*/ 1257300 h 3409950"/>
              <a:gd name="connsiteX3" fmla="*/ 1543050 w 2114550"/>
              <a:gd name="connsiteY3" fmla="*/ 1638300 h 3409950"/>
              <a:gd name="connsiteX4" fmla="*/ 1219200 w 2114550"/>
              <a:gd name="connsiteY4" fmla="*/ 1752600 h 3409950"/>
              <a:gd name="connsiteX5" fmla="*/ 609600 w 2114550"/>
              <a:gd name="connsiteY5" fmla="*/ 2895600 h 3409950"/>
              <a:gd name="connsiteX6" fmla="*/ 419100 w 2114550"/>
              <a:gd name="connsiteY6" fmla="*/ 3409950 h 3409950"/>
              <a:gd name="connsiteX7" fmla="*/ 19050 w 2114550"/>
              <a:gd name="connsiteY7" fmla="*/ 3409950 h 3409950"/>
              <a:gd name="connsiteX8" fmla="*/ 0 w 2114550"/>
              <a:gd name="connsiteY8" fmla="*/ 2381250 h 3409950"/>
              <a:gd name="connsiteX9" fmla="*/ 742950 w 2114550"/>
              <a:gd name="connsiteY9" fmla="*/ 1866900 h 3409950"/>
              <a:gd name="connsiteX10" fmla="*/ 781050 w 2114550"/>
              <a:gd name="connsiteY10" fmla="*/ 1276350 h 3409950"/>
              <a:gd name="connsiteX11" fmla="*/ 819150 w 2114550"/>
              <a:gd name="connsiteY11" fmla="*/ 628650 h 3409950"/>
              <a:gd name="connsiteX12" fmla="*/ 1066800 w 2114550"/>
              <a:gd name="connsiteY12" fmla="*/ 304800 h 3409950"/>
              <a:gd name="connsiteX13" fmla="*/ 1333500 w 2114550"/>
              <a:gd name="connsiteY13" fmla="*/ 0 h 3409950"/>
              <a:gd name="connsiteX14" fmla="*/ 1962150 w 2114550"/>
              <a:gd name="connsiteY14" fmla="*/ 152400 h 3409950"/>
              <a:gd name="connsiteX15" fmla="*/ 2114550 w 2114550"/>
              <a:gd name="connsiteY15" fmla="*/ 361950 h 3409950"/>
              <a:gd name="connsiteX0" fmla="*/ 2095500 w 2095500"/>
              <a:gd name="connsiteY0" fmla="*/ 361950 h 3409950"/>
              <a:gd name="connsiteX1" fmla="*/ 1447800 w 2095500"/>
              <a:gd name="connsiteY1" fmla="*/ 838200 h 3409950"/>
              <a:gd name="connsiteX2" fmla="*/ 1409700 w 2095500"/>
              <a:gd name="connsiteY2" fmla="*/ 1257300 h 3409950"/>
              <a:gd name="connsiteX3" fmla="*/ 1524000 w 2095500"/>
              <a:gd name="connsiteY3" fmla="*/ 1638300 h 3409950"/>
              <a:gd name="connsiteX4" fmla="*/ 1200150 w 2095500"/>
              <a:gd name="connsiteY4" fmla="*/ 1752600 h 3409950"/>
              <a:gd name="connsiteX5" fmla="*/ 590550 w 2095500"/>
              <a:gd name="connsiteY5" fmla="*/ 2895600 h 3409950"/>
              <a:gd name="connsiteX6" fmla="*/ 400050 w 2095500"/>
              <a:gd name="connsiteY6" fmla="*/ 3409950 h 3409950"/>
              <a:gd name="connsiteX7" fmla="*/ 0 w 2095500"/>
              <a:gd name="connsiteY7" fmla="*/ 3409950 h 3409950"/>
              <a:gd name="connsiteX8" fmla="*/ 723900 w 2095500"/>
              <a:gd name="connsiteY8" fmla="*/ 1866900 h 3409950"/>
              <a:gd name="connsiteX9" fmla="*/ 762000 w 2095500"/>
              <a:gd name="connsiteY9" fmla="*/ 1276350 h 3409950"/>
              <a:gd name="connsiteX10" fmla="*/ 800100 w 2095500"/>
              <a:gd name="connsiteY10" fmla="*/ 628650 h 3409950"/>
              <a:gd name="connsiteX11" fmla="*/ 1047750 w 2095500"/>
              <a:gd name="connsiteY11" fmla="*/ 304800 h 3409950"/>
              <a:gd name="connsiteX12" fmla="*/ 1314450 w 2095500"/>
              <a:gd name="connsiteY12" fmla="*/ 0 h 3409950"/>
              <a:gd name="connsiteX13" fmla="*/ 1943100 w 2095500"/>
              <a:gd name="connsiteY13" fmla="*/ 152400 h 3409950"/>
              <a:gd name="connsiteX14" fmla="*/ 2095500 w 2095500"/>
              <a:gd name="connsiteY14" fmla="*/ 361950 h 3409950"/>
              <a:gd name="connsiteX0" fmla="*/ 1695450 w 1695450"/>
              <a:gd name="connsiteY0" fmla="*/ 361950 h 3409950"/>
              <a:gd name="connsiteX1" fmla="*/ 1047750 w 1695450"/>
              <a:gd name="connsiteY1" fmla="*/ 838200 h 3409950"/>
              <a:gd name="connsiteX2" fmla="*/ 1009650 w 1695450"/>
              <a:gd name="connsiteY2" fmla="*/ 1257300 h 3409950"/>
              <a:gd name="connsiteX3" fmla="*/ 1123950 w 1695450"/>
              <a:gd name="connsiteY3" fmla="*/ 1638300 h 3409950"/>
              <a:gd name="connsiteX4" fmla="*/ 800100 w 1695450"/>
              <a:gd name="connsiteY4" fmla="*/ 1752600 h 3409950"/>
              <a:gd name="connsiteX5" fmla="*/ 190500 w 1695450"/>
              <a:gd name="connsiteY5" fmla="*/ 2895600 h 3409950"/>
              <a:gd name="connsiteX6" fmla="*/ 0 w 1695450"/>
              <a:gd name="connsiteY6" fmla="*/ 3409950 h 3409950"/>
              <a:gd name="connsiteX7" fmla="*/ 323850 w 1695450"/>
              <a:gd name="connsiteY7" fmla="*/ 1866900 h 3409950"/>
              <a:gd name="connsiteX8" fmla="*/ 361950 w 1695450"/>
              <a:gd name="connsiteY8" fmla="*/ 1276350 h 3409950"/>
              <a:gd name="connsiteX9" fmla="*/ 400050 w 1695450"/>
              <a:gd name="connsiteY9" fmla="*/ 628650 h 3409950"/>
              <a:gd name="connsiteX10" fmla="*/ 647700 w 1695450"/>
              <a:gd name="connsiteY10" fmla="*/ 304800 h 3409950"/>
              <a:gd name="connsiteX11" fmla="*/ 914400 w 1695450"/>
              <a:gd name="connsiteY11" fmla="*/ 0 h 3409950"/>
              <a:gd name="connsiteX12" fmla="*/ 1543050 w 1695450"/>
              <a:gd name="connsiteY12" fmla="*/ 152400 h 3409950"/>
              <a:gd name="connsiteX13" fmla="*/ 1695450 w 1695450"/>
              <a:gd name="connsiteY13" fmla="*/ 361950 h 3409950"/>
              <a:gd name="connsiteX0" fmla="*/ 1695450 w 1695450"/>
              <a:gd name="connsiteY0" fmla="*/ 361950 h 3409950"/>
              <a:gd name="connsiteX1" fmla="*/ 1047750 w 1695450"/>
              <a:gd name="connsiteY1" fmla="*/ 838200 h 3409950"/>
              <a:gd name="connsiteX2" fmla="*/ 1009650 w 1695450"/>
              <a:gd name="connsiteY2" fmla="*/ 1257300 h 3409950"/>
              <a:gd name="connsiteX3" fmla="*/ 1123950 w 1695450"/>
              <a:gd name="connsiteY3" fmla="*/ 1638300 h 3409950"/>
              <a:gd name="connsiteX4" fmla="*/ 800100 w 1695450"/>
              <a:gd name="connsiteY4" fmla="*/ 1752600 h 3409950"/>
              <a:gd name="connsiteX5" fmla="*/ 0 w 1695450"/>
              <a:gd name="connsiteY5" fmla="*/ 3409950 h 3409950"/>
              <a:gd name="connsiteX6" fmla="*/ 323850 w 1695450"/>
              <a:gd name="connsiteY6" fmla="*/ 1866900 h 3409950"/>
              <a:gd name="connsiteX7" fmla="*/ 361950 w 1695450"/>
              <a:gd name="connsiteY7" fmla="*/ 1276350 h 3409950"/>
              <a:gd name="connsiteX8" fmla="*/ 400050 w 1695450"/>
              <a:gd name="connsiteY8" fmla="*/ 628650 h 3409950"/>
              <a:gd name="connsiteX9" fmla="*/ 647700 w 1695450"/>
              <a:gd name="connsiteY9" fmla="*/ 304800 h 3409950"/>
              <a:gd name="connsiteX10" fmla="*/ 914400 w 1695450"/>
              <a:gd name="connsiteY10" fmla="*/ 0 h 3409950"/>
              <a:gd name="connsiteX11" fmla="*/ 1543050 w 1695450"/>
              <a:gd name="connsiteY11" fmla="*/ 152400 h 3409950"/>
              <a:gd name="connsiteX12" fmla="*/ 1695450 w 1695450"/>
              <a:gd name="connsiteY12" fmla="*/ 361950 h 3409950"/>
              <a:gd name="connsiteX0" fmla="*/ 1581150 w 1581150"/>
              <a:gd name="connsiteY0" fmla="*/ 361950 h 2190750"/>
              <a:gd name="connsiteX1" fmla="*/ 933450 w 1581150"/>
              <a:gd name="connsiteY1" fmla="*/ 838200 h 2190750"/>
              <a:gd name="connsiteX2" fmla="*/ 895350 w 1581150"/>
              <a:gd name="connsiteY2" fmla="*/ 1257300 h 2190750"/>
              <a:gd name="connsiteX3" fmla="*/ 1009650 w 1581150"/>
              <a:gd name="connsiteY3" fmla="*/ 1638300 h 2190750"/>
              <a:gd name="connsiteX4" fmla="*/ 685800 w 1581150"/>
              <a:gd name="connsiteY4" fmla="*/ 1752600 h 2190750"/>
              <a:gd name="connsiteX5" fmla="*/ 0 w 1581150"/>
              <a:gd name="connsiteY5" fmla="*/ 2190750 h 2190750"/>
              <a:gd name="connsiteX6" fmla="*/ 209550 w 1581150"/>
              <a:gd name="connsiteY6" fmla="*/ 1866900 h 2190750"/>
              <a:gd name="connsiteX7" fmla="*/ 247650 w 1581150"/>
              <a:gd name="connsiteY7" fmla="*/ 1276350 h 2190750"/>
              <a:gd name="connsiteX8" fmla="*/ 285750 w 1581150"/>
              <a:gd name="connsiteY8" fmla="*/ 628650 h 2190750"/>
              <a:gd name="connsiteX9" fmla="*/ 533400 w 1581150"/>
              <a:gd name="connsiteY9" fmla="*/ 304800 h 2190750"/>
              <a:gd name="connsiteX10" fmla="*/ 800100 w 1581150"/>
              <a:gd name="connsiteY10" fmla="*/ 0 h 2190750"/>
              <a:gd name="connsiteX11" fmla="*/ 1428750 w 1581150"/>
              <a:gd name="connsiteY11" fmla="*/ 152400 h 2190750"/>
              <a:gd name="connsiteX12" fmla="*/ 1581150 w 1581150"/>
              <a:gd name="connsiteY12" fmla="*/ 361950 h 2190750"/>
              <a:gd name="connsiteX0" fmla="*/ 1371600 w 1371600"/>
              <a:gd name="connsiteY0" fmla="*/ 361950 h 1866900"/>
              <a:gd name="connsiteX1" fmla="*/ 723900 w 1371600"/>
              <a:gd name="connsiteY1" fmla="*/ 838200 h 1866900"/>
              <a:gd name="connsiteX2" fmla="*/ 685800 w 1371600"/>
              <a:gd name="connsiteY2" fmla="*/ 1257300 h 1866900"/>
              <a:gd name="connsiteX3" fmla="*/ 800100 w 1371600"/>
              <a:gd name="connsiteY3" fmla="*/ 1638300 h 1866900"/>
              <a:gd name="connsiteX4" fmla="*/ 476250 w 1371600"/>
              <a:gd name="connsiteY4" fmla="*/ 1752600 h 1866900"/>
              <a:gd name="connsiteX5" fmla="*/ 0 w 1371600"/>
              <a:gd name="connsiteY5" fmla="*/ 1866900 h 1866900"/>
              <a:gd name="connsiteX6" fmla="*/ 38100 w 1371600"/>
              <a:gd name="connsiteY6" fmla="*/ 1276350 h 1866900"/>
              <a:gd name="connsiteX7" fmla="*/ 76200 w 1371600"/>
              <a:gd name="connsiteY7" fmla="*/ 628650 h 1866900"/>
              <a:gd name="connsiteX8" fmla="*/ 323850 w 1371600"/>
              <a:gd name="connsiteY8" fmla="*/ 304800 h 1866900"/>
              <a:gd name="connsiteX9" fmla="*/ 590550 w 1371600"/>
              <a:gd name="connsiteY9" fmla="*/ 0 h 1866900"/>
              <a:gd name="connsiteX10" fmla="*/ 1219200 w 1371600"/>
              <a:gd name="connsiteY10" fmla="*/ 152400 h 1866900"/>
              <a:gd name="connsiteX11" fmla="*/ 1371600 w 1371600"/>
              <a:gd name="connsiteY11" fmla="*/ 361950 h 1866900"/>
              <a:gd name="connsiteX0" fmla="*/ 1371600 w 1371600"/>
              <a:gd name="connsiteY0" fmla="*/ 361950 h 1866900"/>
              <a:gd name="connsiteX1" fmla="*/ 549729 w 1371600"/>
              <a:gd name="connsiteY1" fmla="*/ 765628 h 1866900"/>
              <a:gd name="connsiteX2" fmla="*/ 685800 w 1371600"/>
              <a:gd name="connsiteY2" fmla="*/ 1257300 h 1866900"/>
              <a:gd name="connsiteX3" fmla="*/ 800100 w 1371600"/>
              <a:gd name="connsiteY3" fmla="*/ 1638300 h 1866900"/>
              <a:gd name="connsiteX4" fmla="*/ 476250 w 1371600"/>
              <a:gd name="connsiteY4" fmla="*/ 1752600 h 1866900"/>
              <a:gd name="connsiteX5" fmla="*/ 0 w 1371600"/>
              <a:gd name="connsiteY5" fmla="*/ 1866900 h 1866900"/>
              <a:gd name="connsiteX6" fmla="*/ 38100 w 1371600"/>
              <a:gd name="connsiteY6" fmla="*/ 1276350 h 1866900"/>
              <a:gd name="connsiteX7" fmla="*/ 76200 w 1371600"/>
              <a:gd name="connsiteY7" fmla="*/ 628650 h 1866900"/>
              <a:gd name="connsiteX8" fmla="*/ 323850 w 1371600"/>
              <a:gd name="connsiteY8" fmla="*/ 304800 h 1866900"/>
              <a:gd name="connsiteX9" fmla="*/ 590550 w 1371600"/>
              <a:gd name="connsiteY9" fmla="*/ 0 h 1866900"/>
              <a:gd name="connsiteX10" fmla="*/ 1219200 w 1371600"/>
              <a:gd name="connsiteY10" fmla="*/ 152400 h 1866900"/>
              <a:gd name="connsiteX11" fmla="*/ 1371600 w 1371600"/>
              <a:gd name="connsiteY11" fmla="*/ 361950 h 1866900"/>
              <a:gd name="connsiteX0" fmla="*/ 1240971 w 1240971"/>
              <a:gd name="connsiteY0" fmla="*/ 289378 h 1866900"/>
              <a:gd name="connsiteX1" fmla="*/ 549729 w 1240971"/>
              <a:gd name="connsiteY1" fmla="*/ 765628 h 1866900"/>
              <a:gd name="connsiteX2" fmla="*/ 685800 w 1240971"/>
              <a:gd name="connsiteY2" fmla="*/ 1257300 h 1866900"/>
              <a:gd name="connsiteX3" fmla="*/ 800100 w 1240971"/>
              <a:gd name="connsiteY3" fmla="*/ 1638300 h 1866900"/>
              <a:gd name="connsiteX4" fmla="*/ 476250 w 1240971"/>
              <a:gd name="connsiteY4" fmla="*/ 1752600 h 1866900"/>
              <a:gd name="connsiteX5" fmla="*/ 0 w 1240971"/>
              <a:gd name="connsiteY5" fmla="*/ 1866900 h 1866900"/>
              <a:gd name="connsiteX6" fmla="*/ 38100 w 1240971"/>
              <a:gd name="connsiteY6" fmla="*/ 1276350 h 1866900"/>
              <a:gd name="connsiteX7" fmla="*/ 76200 w 1240971"/>
              <a:gd name="connsiteY7" fmla="*/ 628650 h 1866900"/>
              <a:gd name="connsiteX8" fmla="*/ 323850 w 1240971"/>
              <a:gd name="connsiteY8" fmla="*/ 304800 h 1866900"/>
              <a:gd name="connsiteX9" fmla="*/ 590550 w 1240971"/>
              <a:gd name="connsiteY9" fmla="*/ 0 h 1866900"/>
              <a:gd name="connsiteX10" fmla="*/ 1219200 w 1240971"/>
              <a:gd name="connsiteY10" fmla="*/ 152400 h 1866900"/>
              <a:gd name="connsiteX11" fmla="*/ 1240971 w 1240971"/>
              <a:gd name="connsiteY11" fmla="*/ 289378 h 1866900"/>
              <a:gd name="connsiteX0" fmla="*/ 1240971 w 1240971"/>
              <a:gd name="connsiteY0" fmla="*/ 289378 h 1866900"/>
              <a:gd name="connsiteX1" fmla="*/ 549729 w 1240971"/>
              <a:gd name="connsiteY1" fmla="*/ 765628 h 1866900"/>
              <a:gd name="connsiteX2" fmla="*/ 685800 w 1240971"/>
              <a:gd name="connsiteY2" fmla="*/ 1257300 h 1866900"/>
              <a:gd name="connsiteX3" fmla="*/ 800100 w 1240971"/>
              <a:gd name="connsiteY3" fmla="*/ 1638300 h 1866900"/>
              <a:gd name="connsiteX4" fmla="*/ 476250 w 1240971"/>
              <a:gd name="connsiteY4" fmla="*/ 1752600 h 1866900"/>
              <a:gd name="connsiteX5" fmla="*/ 0 w 1240971"/>
              <a:gd name="connsiteY5" fmla="*/ 1866900 h 1866900"/>
              <a:gd name="connsiteX6" fmla="*/ 38100 w 1240971"/>
              <a:gd name="connsiteY6" fmla="*/ 1276350 h 1866900"/>
              <a:gd name="connsiteX7" fmla="*/ 76200 w 1240971"/>
              <a:gd name="connsiteY7" fmla="*/ 628650 h 1866900"/>
              <a:gd name="connsiteX8" fmla="*/ 323850 w 1240971"/>
              <a:gd name="connsiteY8" fmla="*/ 304800 h 1866900"/>
              <a:gd name="connsiteX9" fmla="*/ 590550 w 1240971"/>
              <a:gd name="connsiteY9" fmla="*/ 0 h 1866900"/>
              <a:gd name="connsiteX10" fmla="*/ 1219200 w 1240971"/>
              <a:gd name="connsiteY10" fmla="*/ 152400 h 1866900"/>
              <a:gd name="connsiteX11" fmla="*/ 1240971 w 1240971"/>
              <a:gd name="connsiteY11" fmla="*/ 289378 h 1866900"/>
              <a:gd name="connsiteX0" fmla="*/ 1240971 w 1240971"/>
              <a:gd name="connsiteY0" fmla="*/ 289378 h 1866900"/>
              <a:gd name="connsiteX1" fmla="*/ 549729 w 1240971"/>
              <a:gd name="connsiteY1" fmla="*/ 765628 h 1866900"/>
              <a:gd name="connsiteX2" fmla="*/ 555171 w 1240971"/>
              <a:gd name="connsiteY2" fmla="*/ 1184728 h 1866900"/>
              <a:gd name="connsiteX3" fmla="*/ 800100 w 1240971"/>
              <a:gd name="connsiteY3" fmla="*/ 1638300 h 1866900"/>
              <a:gd name="connsiteX4" fmla="*/ 476250 w 1240971"/>
              <a:gd name="connsiteY4" fmla="*/ 1752600 h 1866900"/>
              <a:gd name="connsiteX5" fmla="*/ 0 w 1240971"/>
              <a:gd name="connsiteY5" fmla="*/ 1866900 h 1866900"/>
              <a:gd name="connsiteX6" fmla="*/ 38100 w 1240971"/>
              <a:gd name="connsiteY6" fmla="*/ 1276350 h 1866900"/>
              <a:gd name="connsiteX7" fmla="*/ 76200 w 1240971"/>
              <a:gd name="connsiteY7" fmla="*/ 628650 h 1866900"/>
              <a:gd name="connsiteX8" fmla="*/ 323850 w 1240971"/>
              <a:gd name="connsiteY8" fmla="*/ 304800 h 1866900"/>
              <a:gd name="connsiteX9" fmla="*/ 590550 w 1240971"/>
              <a:gd name="connsiteY9" fmla="*/ 0 h 1866900"/>
              <a:gd name="connsiteX10" fmla="*/ 1219200 w 1240971"/>
              <a:gd name="connsiteY10" fmla="*/ 152400 h 1866900"/>
              <a:gd name="connsiteX11" fmla="*/ 1240971 w 1240971"/>
              <a:gd name="connsiteY11" fmla="*/ 289378 h 1866900"/>
              <a:gd name="connsiteX0" fmla="*/ 1240971 w 1240971"/>
              <a:gd name="connsiteY0" fmla="*/ 289378 h 1866900"/>
              <a:gd name="connsiteX1" fmla="*/ 549729 w 1240971"/>
              <a:gd name="connsiteY1" fmla="*/ 765628 h 1866900"/>
              <a:gd name="connsiteX2" fmla="*/ 555171 w 1240971"/>
              <a:gd name="connsiteY2" fmla="*/ 1184728 h 1866900"/>
              <a:gd name="connsiteX3" fmla="*/ 698500 w 1240971"/>
              <a:gd name="connsiteY3" fmla="*/ 1710872 h 1866900"/>
              <a:gd name="connsiteX4" fmla="*/ 476250 w 1240971"/>
              <a:gd name="connsiteY4" fmla="*/ 1752600 h 1866900"/>
              <a:gd name="connsiteX5" fmla="*/ 0 w 1240971"/>
              <a:gd name="connsiteY5" fmla="*/ 1866900 h 1866900"/>
              <a:gd name="connsiteX6" fmla="*/ 38100 w 1240971"/>
              <a:gd name="connsiteY6" fmla="*/ 1276350 h 1866900"/>
              <a:gd name="connsiteX7" fmla="*/ 76200 w 1240971"/>
              <a:gd name="connsiteY7" fmla="*/ 628650 h 1866900"/>
              <a:gd name="connsiteX8" fmla="*/ 323850 w 1240971"/>
              <a:gd name="connsiteY8" fmla="*/ 304800 h 1866900"/>
              <a:gd name="connsiteX9" fmla="*/ 590550 w 1240971"/>
              <a:gd name="connsiteY9" fmla="*/ 0 h 1866900"/>
              <a:gd name="connsiteX10" fmla="*/ 1219200 w 1240971"/>
              <a:gd name="connsiteY10" fmla="*/ 152400 h 1866900"/>
              <a:gd name="connsiteX11" fmla="*/ 1240971 w 1240971"/>
              <a:gd name="connsiteY11" fmla="*/ 289378 h 1866900"/>
              <a:gd name="connsiteX0" fmla="*/ 1240971 w 1240971"/>
              <a:gd name="connsiteY0" fmla="*/ 289378 h 2013857"/>
              <a:gd name="connsiteX1" fmla="*/ 549729 w 1240971"/>
              <a:gd name="connsiteY1" fmla="*/ 765628 h 2013857"/>
              <a:gd name="connsiteX2" fmla="*/ 555171 w 1240971"/>
              <a:gd name="connsiteY2" fmla="*/ 1184728 h 2013857"/>
              <a:gd name="connsiteX3" fmla="*/ 698500 w 1240971"/>
              <a:gd name="connsiteY3" fmla="*/ 1710872 h 2013857"/>
              <a:gd name="connsiteX4" fmla="*/ 374650 w 1240971"/>
              <a:gd name="connsiteY4" fmla="*/ 2013857 h 2013857"/>
              <a:gd name="connsiteX5" fmla="*/ 0 w 1240971"/>
              <a:gd name="connsiteY5" fmla="*/ 1866900 h 2013857"/>
              <a:gd name="connsiteX6" fmla="*/ 38100 w 1240971"/>
              <a:gd name="connsiteY6" fmla="*/ 1276350 h 2013857"/>
              <a:gd name="connsiteX7" fmla="*/ 76200 w 1240971"/>
              <a:gd name="connsiteY7" fmla="*/ 628650 h 2013857"/>
              <a:gd name="connsiteX8" fmla="*/ 323850 w 1240971"/>
              <a:gd name="connsiteY8" fmla="*/ 304800 h 2013857"/>
              <a:gd name="connsiteX9" fmla="*/ 590550 w 1240971"/>
              <a:gd name="connsiteY9" fmla="*/ 0 h 2013857"/>
              <a:gd name="connsiteX10" fmla="*/ 1219200 w 1240971"/>
              <a:gd name="connsiteY10" fmla="*/ 152400 h 2013857"/>
              <a:gd name="connsiteX11" fmla="*/ 1240971 w 1240971"/>
              <a:gd name="connsiteY11" fmla="*/ 289378 h 2013857"/>
              <a:gd name="connsiteX0" fmla="*/ 1473199 w 1473199"/>
              <a:gd name="connsiteY0" fmla="*/ 289378 h 2157186"/>
              <a:gd name="connsiteX1" fmla="*/ 781957 w 1473199"/>
              <a:gd name="connsiteY1" fmla="*/ 765628 h 2157186"/>
              <a:gd name="connsiteX2" fmla="*/ 787399 w 1473199"/>
              <a:gd name="connsiteY2" fmla="*/ 1184728 h 2157186"/>
              <a:gd name="connsiteX3" fmla="*/ 930728 w 1473199"/>
              <a:gd name="connsiteY3" fmla="*/ 1710872 h 2157186"/>
              <a:gd name="connsiteX4" fmla="*/ 606878 w 1473199"/>
              <a:gd name="connsiteY4" fmla="*/ 2013857 h 2157186"/>
              <a:gd name="connsiteX5" fmla="*/ 0 w 1473199"/>
              <a:gd name="connsiteY5" fmla="*/ 2157186 h 2157186"/>
              <a:gd name="connsiteX6" fmla="*/ 270328 w 1473199"/>
              <a:gd name="connsiteY6" fmla="*/ 1276350 h 2157186"/>
              <a:gd name="connsiteX7" fmla="*/ 308428 w 1473199"/>
              <a:gd name="connsiteY7" fmla="*/ 628650 h 2157186"/>
              <a:gd name="connsiteX8" fmla="*/ 556078 w 1473199"/>
              <a:gd name="connsiteY8" fmla="*/ 304800 h 2157186"/>
              <a:gd name="connsiteX9" fmla="*/ 822778 w 1473199"/>
              <a:gd name="connsiteY9" fmla="*/ 0 h 2157186"/>
              <a:gd name="connsiteX10" fmla="*/ 1451428 w 1473199"/>
              <a:gd name="connsiteY10" fmla="*/ 152400 h 2157186"/>
              <a:gd name="connsiteX11" fmla="*/ 1473199 w 1473199"/>
              <a:gd name="connsiteY11" fmla="*/ 289378 h 2157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3199" h="2157186">
                <a:moveTo>
                  <a:pt x="1473199" y="289378"/>
                </a:moveTo>
                <a:cubicBezTo>
                  <a:pt x="1242785" y="448128"/>
                  <a:pt x="1128486" y="127906"/>
                  <a:pt x="781957" y="765628"/>
                </a:cubicBezTo>
                <a:lnTo>
                  <a:pt x="787399" y="1184728"/>
                </a:lnTo>
                <a:lnTo>
                  <a:pt x="930728" y="1710872"/>
                </a:lnTo>
                <a:lnTo>
                  <a:pt x="606878" y="2013857"/>
                </a:lnTo>
                <a:lnTo>
                  <a:pt x="0" y="2157186"/>
                </a:lnTo>
                <a:lnTo>
                  <a:pt x="270328" y="1276350"/>
                </a:lnTo>
                <a:lnTo>
                  <a:pt x="308428" y="628650"/>
                </a:lnTo>
                <a:lnTo>
                  <a:pt x="556078" y="304800"/>
                </a:lnTo>
                <a:lnTo>
                  <a:pt x="822778" y="0"/>
                </a:lnTo>
                <a:lnTo>
                  <a:pt x="1451428" y="152400"/>
                </a:lnTo>
                <a:lnTo>
                  <a:pt x="1473199" y="289378"/>
                </a:lnTo>
                <a:close/>
              </a:path>
            </a:pathLst>
          </a:custGeom>
          <a:solidFill>
            <a:srgbClr val="4472C4">
              <a:alpha val="40000"/>
            </a:srgbClr>
          </a:solidFill>
          <a:ln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defTabSz="4572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zh-CN" altLang="en-US" sz="12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矩形: 圆角 131">
            <a:extLst>
              <a:ext uri="{FF2B5EF4-FFF2-40B4-BE49-F238E27FC236}">
                <a16:creationId xmlns="" xmlns:a16="http://schemas.microsoft.com/office/drawing/2014/main" id="{927BF427-6F54-4869-9480-6EE7DDFDF511}"/>
              </a:ext>
            </a:extLst>
          </p:cNvPr>
          <p:cNvSpPr/>
          <p:nvPr/>
        </p:nvSpPr>
        <p:spPr>
          <a:xfrm>
            <a:off x="4573491" y="2649100"/>
            <a:ext cx="2468292" cy="340519"/>
          </a:xfrm>
          <a:prstGeom prst="roundRect">
            <a:avLst/>
          </a:prstGeom>
          <a:solidFill>
            <a:srgbClr val="F81B02"/>
          </a:solidFill>
          <a:ln>
            <a:solidFill>
              <a:sysClr val="window" lastClr="FFFFFF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总部经济与创意产业区</a:t>
            </a:r>
          </a:p>
        </p:txBody>
      </p:sp>
      <p:sp>
        <p:nvSpPr>
          <p:cNvPr id="30" name="矩形: 圆角 132">
            <a:extLst>
              <a:ext uri="{FF2B5EF4-FFF2-40B4-BE49-F238E27FC236}">
                <a16:creationId xmlns="" xmlns:a16="http://schemas.microsoft.com/office/drawing/2014/main" id="{9B2AC5F1-9CDE-46A6-8134-42C008ABEDB7}"/>
              </a:ext>
            </a:extLst>
          </p:cNvPr>
          <p:cNvSpPr/>
          <p:nvPr/>
        </p:nvSpPr>
        <p:spPr>
          <a:xfrm>
            <a:off x="8928985" y="3379179"/>
            <a:ext cx="2468292" cy="340519"/>
          </a:xfrm>
          <a:prstGeom prst="roundRect">
            <a:avLst/>
          </a:prstGeom>
          <a:solidFill>
            <a:srgbClr val="F81B02"/>
          </a:solidFill>
          <a:ln>
            <a:solidFill>
              <a:sysClr val="window" lastClr="FFFFFF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RBD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休闲商务区</a:t>
            </a:r>
          </a:p>
        </p:txBody>
      </p:sp>
      <p:sp>
        <p:nvSpPr>
          <p:cNvPr id="31" name="矩形: 圆角 133">
            <a:extLst>
              <a:ext uri="{FF2B5EF4-FFF2-40B4-BE49-F238E27FC236}">
                <a16:creationId xmlns="" xmlns:a16="http://schemas.microsoft.com/office/drawing/2014/main" id="{F5A10205-3133-4745-AE7C-1FC0F79888A5}"/>
              </a:ext>
            </a:extLst>
          </p:cNvPr>
          <p:cNvSpPr/>
          <p:nvPr/>
        </p:nvSpPr>
        <p:spPr>
          <a:xfrm>
            <a:off x="4475492" y="5240578"/>
            <a:ext cx="1453262" cy="340519"/>
          </a:xfrm>
          <a:prstGeom prst="roundRect">
            <a:avLst/>
          </a:prstGeom>
          <a:solidFill>
            <a:srgbClr val="F81B02"/>
          </a:solidFill>
          <a:ln>
            <a:solidFill>
              <a:sysClr val="window" lastClr="FFFFFF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闫营子区域</a:t>
            </a:r>
          </a:p>
        </p:txBody>
      </p:sp>
      <p:sp>
        <p:nvSpPr>
          <p:cNvPr id="32" name="矩形: 圆角 134">
            <a:extLst>
              <a:ext uri="{FF2B5EF4-FFF2-40B4-BE49-F238E27FC236}">
                <a16:creationId xmlns="" xmlns:a16="http://schemas.microsoft.com/office/drawing/2014/main" id="{60C3F684-019C-4DD0-8A05-86C67604DC62}"/>
              </a:ext>
            </a:extLst>
          </p:cNvPr>
          <p:cNvSpPr/>
          <p:nvPr/>
        </p:nvSpPr>
        <p:spPr>
          <a:xfrm>
            <a:off x="8021894" y="5694988"/>
            <a:ext cx="1369284" cy="374571"/>
          </a:xfrm>
          <a:prstGeom prst="roundRect">
            <a:avLst/>
          </a:prstGeom>
          <a:solidFill>
            <a:srgbClr val="F81B02"/>
          </a:solidFill>
          <a:ln>
            <a:solidFill>
              <a:sysClr val="window" lastClr="FFFFFF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高铁商务区</a:t>
            </a:r>
          </a:p>
        </p:txBody>
      </p:sp>
      <p:sp>
        <p:nvSpPr>
          <p:cNvPr id="33" name="矩形: 圆角 134">
            <a:extLst>
              <a:ext uri="{FF2B5EF4-FFF2-40B4-BE49-F238E27FC236}">
                <a16:creationId xmlns="" xmlns:a16="http://schemas.microsoft.com/office/drawing/2014/main" id="{60C3F684-019C-4DD0-8A05-86C67604DC62}"/>
              </a:ext>
            </a:extLst>
          </p:cNvPr>
          <p:cNvSpPr/>
          <p:nvPr/>
        </p:nvSpPr>
        <p:spPr>
          <a:xfrm>
            <a:off x="8903722" y="7814749"/>
            <a:ext cx="777584" cy="408623"/>
          </a:xfrm>
          <a:prstGeom prst="roundRect">
            <a:avLst/>
          </a:prstGeom>
          <a:solidFill>
            <a:srgbClr val="FFFF66"/>
          </a:solidFill>
          <a:ln>
            <a:solidFill>
              <a:sysClr val="window" lastClr="FFFFFF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本案</a:t>
            </a:r>
          </a:p>
        </p:txBody>
      </p:sp>
      <p:sp>
        <p:nvSpPr>
          <p:cNvPr id="34" name="矩形: 圆角 134">
            <a:extLst>
              <a:ext uri="{FF2B5EF4-FFF2-40B4-BE49-F238E27FC236}">
                <a16:creationId xmlns="" xmlns:a16="http://schemas.microsoft.com/office/drawing/2014/main" id="{60C3F684-019C-4DD0-8A05-86C67604DC62}"/>
              </a:ext>
            </a:extLst>
          </p:cNvPr>
          <p:cNvSpPr/>
          <p:nvPr/>
        </p:nvSpPr>
        <p:spPr>
          <a:xfrm>
            <a:off x="7716552" y="7304003"/>
            <a:ext cx="1496313" cy="408623"/>
          </a:xfrm>
          <a:prstGeom prst="roundRect">
            <a:avLst/>
          </a:prstGeom>
          <a:solidFill>
            <a:srgbClr val="FFC000"/>
          </a:solidFill>
          <a:ln>
            <a:solidFill>
              <a:sysClr val="window" lastClr="FFFFFF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国际滑雪场</a:t>
            </a:r>
          </a:p>
        </p:txBody>
      </p:sp>
      <p:pic>
        <p:nvPicPr>
          <p:cNvPr id="36" name="图片 35">
            <a:extLst>
              <a:ext uri="{FF2B5EF4-FFF2-40B4-BE49-F238E27FC236}">
                <a16:creationId xmlns="" xmlns:a16="http://schemas.microsoft.com/office/drawing/2014/main" id="{3AC825BF-7212-4425-A16D-044760A96B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52042" y="5725932"/>
            <a:ext cx="304226" cy="303640"/>
          </a:xfrm>
          <a:prstGeom prst="rect">
            <a:avLst/>
          </a:prstGeom>
        </p:spPr>
      </p:pic>
      <p:sp>
        <p:nvSpPr>
          <p:cNvPr id="37" name="矩形: 圆角 134">
            <a:extLst>
              <a:ext uri="{FF2B5EF4-FFF2-40B4-BE49-F238E27FC236}">
                <a16:creationId xmlns="" xmlns:a16="http://schemas.microsoft.com/office/drawing/2014/main" id="{60C3F684-019C-4DD0-8A05-86C67604DC62}"/>
              </a:ext>
            </a:extLst>
          </p:cNvPr>
          <p:cNvSpPr/>
          <p:nvPr/>
        </p:nvSpPr>
        <p:spPr>
          <a:xfrm>
            <a:off x="6899174" y="6065580"/>
            <a:ext cx="1173565" cy="374571"/>
          </a:xfrm>
          <a:prstGeom prst="roundRect">
            <a:avLst/>
          </a:prstGeom>
          <a:solidFill>
            <a:srgbClr val="2FA6FF"/>
          </a:solidFill>
          <a:ln>
            <a:solidFill>
              <a:sysClr val="window" lastClr="FFFFFF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承德南站</a:t>
            </a:r>
            <a:endParaRPr kumimoji="0" lang="zh-CN" altLang="en-US" sz="18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矩形: 圆角 134">
            <a:extLst>
              <a:ext uri="{FF2B5EF4-FFF2-40B4-BE49-F238E27FC236}">
                <a16:creationId xmlns="" xmlns:a16="http://schemas.microsoft.com/office/drawing/2014/main" id="{60C3F684-019C-4DD0-8A05-86C67604DC62}"/>
              </a:ext>
            </a:extLst>
          </p:cNvPr>
          <p:cNvSpPr/>
          <p:nvPr/>
        </p:nvSpPr>
        <p:spPr>
          <a:xfrm>
            <a:off x="7130582" y="4632329"/>
            <a:ext cx="1055411" cy="374571"/>
          </a:xfrm>
          <a:prstGeom prst="roundRect">
            <a:avLst/>
          </a:prstGeom>
          <a:solidFill>
            <a:srgbClr val="FFC000"/>
          </a:solidFill>
          <a:ln>
            <a:solidFill>
              <a:sysClr val="window" lastClr="FFFFFF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奥体中心</a:t>
            </a:r>
          </a:p>
        </p:txBody>
      </p:sp>
      <p:sp>
        <p:nvSpPr>
          <p:cNvPr id="39" name="矩形: 圆角 134">
            <a:extLst>
              <a:ext uri="{FF2B5EF4-FFF2-40B4-BE49-F238E27FC236}">
                <a16:creationId xmlns="" xmlns:a16="http://schemas.microsoft.com/office/drawing/2014/main" id="{60C3F684-019C-4DD0-8A05-86C67604DC62}"/>
              </a:ext>
            </a:extLst>
          </p:cNvPr>
          <p:cNvSpPr/>
          <p:nvPr/>
        </p:nvSpPr>
        <p:spPr>
          <a:xfrm>
            <a:off x="7130582" y="5186299"/>
            <a:ext cx="942156" cy="374571"/>
          </a:xfrm>
          <a:prstGeom prst="roundRect">
            <a:avLst/>
          </a:prstGeom>
          <a:solidFill>
            <a:srgbClr val="00B050"/>
          </a:solidFill>
          <a:ln>
            <a:solidFill>
              <a:sysClr val="window" lastClr="FFFFFF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大学城</a:t>
            </a:r>
            <a:endParaRPr kumimoji="0" lang="zh-CN" altLang="en-US" sz="16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4404673" y="6635464"/>
            <a:ext cx="8715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滦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河</a:t>
            </a:r>
          </a:p>
        </p:txBody>
      </p:sp>
      <p:pic>
        <p:nvPicPr>
          <p:cNvPr id="40" name="图片 39">
            <a:extLst>
              <a:ext uri="{FF2B5EF4-FFF2-40B4-BE49-F238E27FC236}">
                <a16:creationId xmlns="" xmlns:a16="http://schemas.microsoft.com/office/drawing/2014/main" id="{3AC825BF-7212-4425-A16D-044760A96B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19045" y="5284373"/>
            <a:ext cx="304226" cy="303640"/>
          </a:xfrm>
          <a:prstGeom prst="rect">
            <a:avLst/>
          </a:prstGeom>
        </p:spPr>
      </p:pic>
      <p:sp>
        <p:nvSpPr>
          <p:cNvPr id="41" name="矩形: 圆角 134">
            <a:extLst>
              <a:ext uri="{FF2B5EF4-FFF2-40B4-BE49-F238E27FC236}">
                <a16:creationId xmlns="" xmlns:a16="http://schemas.microsoft.com/office/drawing/2014/main" id="{60C3F684-019C-4DD0-8A05-86C67604DC62}"/>
              </a:ext>
            </a:extLst>
          </p:cNvPr>
          <p:cNvSpPr/>
          <p:nvPr/>
        </p:nvSpPr>
        <p:spPr>
          <a:xfrm>
            <a:off x="9346952" y="4874581"/>
            <a:ext cx="1173565" cy="374571"/>
          </a:xfrm>
          <a:prstGeom prst="roundRect">
            <a:avLst/>
          </a:prstGeom>
          <a:solidFill>
            <a:srgbClr val="2FA6FF"/>
          </a:solidFill>
          <a:ln>
            <a:solidFill>
              <a:sysClr val="window" lastClr="FFFFFF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承德东站</a:t>
            </a:r>
            <a:endParaRPr kumimoji="0" lang="zh-CN" altLang="en-US" sz="18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任意多边形 41"/>
          <p:cNvSpPr/>
          <p:nvPr/>
        </p:nvSpPr>
        <p:spPr bwMode="auto">
          <a:xfrm>
            <a:off x="4258101" y="3694804"/>
            <a:ext cx="7424383" cy="4944229"/>
          </a:xfrm>
          <a:custGeom>
            <a:avLst/>
            <a:gdLst>
              <a:gd name="connsiteX0" fmla="*/ 7424383 w 7424383"/>
              <a:gd name="connsiteY0" fmla="*/ 4944229 h 4944229"/>
              <a:gd name="connsiteX1" fmla="*/ 6509983 w 7424383"/>
              <a:gd name="connsiteY1" fmla="*/ 3715930 h 4944229"/>
              <a:gd name="connsiteX2" fmla="*/ 5950424 w 7424383"/>
              <a:gd name="connsiteY2" fmla="*/ 2992599 h 4944229"/>
              <a:gd name="connsiteX3" fmla="*/ 5554639 w 7424383"/>
              <a:gd name="connsiteY3" fmla="*/ 2501280 h 4944229"/>
              <a:gd name="connsiteX4" fmla="*/ 4885899 w 7424383"/>
              <a:gd name="connsiteY4" fmla="*/ 1232038 h 4944229"/>
              <a:gd name="connsiteX5" fmla="*/ 4435523 w 7424383"/>
              <a:gd name="connsiteY5" fmla="*/ 508706 h 4944229"/>
              <a:gd name="connsiteX6" fmla="*/ 3657600 w 7424383"/>
              <a:gd name="connsiteY6" fmla="*/ 222103 h 4944229"/>
              <a:gd name="connsiteX7" fmla="*/ 3316406 w 7424383"/>
              <a:gd name="connsiteY7" fmla="*/ 44683 h 4944229"/>
              <a:gd name="connsiteX8" fmla="*/ 2606723 w 7424383"/>
              <a:gd name="connsiteY8" fmla="*/ 58330 h 4944229"/>
              <a:gd name="connsiteX9" fmla="*/ 2183642 w 7424383"/>
              <a:gd name="connsiteY9" fmla="*/ 17387 h 4944229"/>
              <a:gd name="connsiteX10" fmla="*/ 1460311 w 7424383"/>
              <a:gd name="connsiteY10" fmla="*/ 385877 h 4944229"/>
              <a:gd name="connsiteX11" fmla="*/ 491320 w 7424383"/>
              <a:gd name="connsiteY11" fmla="*/ 1040969 h 4944229"/>
              <a:gd name="connsiteX12" fmla="*/ 0 w 7424383"/>
              <a:gd name="connsiteY12" fmla="*/ 1068265 h 4944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424383" h="4944229">
                <a:moveTo>
                  <a:pt x="7424383" y="4944229"/>
                </a:moveTo>
                <a:lnTo>
                  <a:pt x="6509983" y="3715930"/>
                </a:lnTo>
                <a:cubicBezTo>
                  <a:pt x="6264323" y="3390658"/>
                  <a:pt x="6109648" y="3195041"/>
                  <a:pt x="5950424" y="2992599"/>
                </a:cubicBezTo>
                <a:cubicBezTo>
                  <a:pt x="5791200" y="2790157"/>
                  <a:pt x="5732060" y="2794707"/>
                  <a:pt x="5554639" y="2501280"/>
                </a:cubicBezTo>
                <a:cubicBezTo>
                  <a:pt x="5377218" y="2207853"/>
                  <a:pt x="5072418" y="1564134"/>
                  <a:pt x="4885899" y="1232038"/>
                </a:cubicBezTo>
                <a:cubicBezTo>
                  <a:pt x="4699380" y="899942"/>
                  <a:pt x="4640239" y="677028"/>
                  <a:pt x="4435523" y="508706"/>
                </a:cubicBezTo>
                <a:cubicBezTo>
                  <a:pt x="4230807" y="340384"/>
                  <a:pt x="3844119" y="299440"/>
                  <a:pt x="3657600" y="222103"/>
                </a:cubicBezTo>
                <a:cubicBezTo>
                  <a:pt x="3471080" y="144766"/>
                  <a:pt x="3491552" y="71978"/>
                  <a:pt x="3316406" y="44683"/>
                </a:cubicBezTo>
                <a:cubicBezTo>
                  <a:pt x="3141260" y="17388"/>
                  <a:pt x="2795517" y="62879"/>
                  <a:pt x="2606723" y="58330"/>
                </a:cubicBezTo>
                <a:cubicBezTo>
                  <a:pt x="2417929" y="53781"/>
                  <a:pt x="2374711" y="-37204"/>
                  <a:pt x="2183642" y="17387"/>
                </a:cubicBezTo>
                <a:cubicBezTo>
                  <a:pt x="1992573" y="71978"/>
                  <a:pt x="1742365" y="215280"/>
                  <a:pt x="1460311" y="385877"/>
                </a:cubicBezTo>
                <a:cubicBezTo>
                  <a:pt x="1178257" y="556474"/>
                  <a:pt x="734705" y="927238"/>
                  <a:pt x="491320" y="1040969"/>
                </a:cubicBezTo>
                <a:cubicBezTo>
                  <a:pt x="247935" y="1154700"/>
                  <a:pt x="123967" y="1111482"/>
                  <a:pt x="0" y="1068265"/>
                </a:cubicBezTo>
              </a:path>
            </a:pathLst>
          </a:custGeom>
          <a:noFill/>
          <a:ln w="57150" cap="flat" cmpd="sng" algn="ctr">
            <a:solidFill>
              <a:srgbClr val="FFFF66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框 42"/>
          <p:cNvSpPr txBox="1"/>
          <p:nvPr/>
        </p:nvSpPr>
        <p:spPr>
          <a:xfrm rot="19378854">
            <a:off x="11141493" y="7231579"/>
            <a:ext cx="393577" cy="1077218"/>
          </a:xfrm>
          <a:prstGeom prst="rect">
            <a:avLst/>
          </a:prstGeom>
          <a:solidFill>
            <a:srgbClr val="FFFF00"/>
          </a:solidFill>
          <a:ln>
            <a:solidFill>
              <a:srgbClr val="FFFF66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承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秦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高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速</a:t>
            </a:r>
          </a:p>
        </p:txBody>
      </p:sp>
      <p:sp>
        <p:nvSpPr>
          <p:cNvPr id="44" name="流程图: 联系 43"/>
          <p:cNvSpPr/>
          <p:nvPr/>
        </p:nvSpPr>
        <p:spPr bwMode="auto">
          <a:xfrm>
            <a:off x="9929740" y="6403561"/>
            <a:ext cx="192019" cy="192019"/>
          </a:xfrm>
          <a:prstGeom prst="flowChartConnector">
            <a:avLst/>
          </a:prstGeom>
          <a:solidFill>
            <a:srgbClr val="92D050"/>
          </a:solidFill>
          <a:ln w="38100" cap="flat" cmpd="sng" algn="ctr">
            <a:solidFill>
              <a:srgbClr val="FFFF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  <p:sp>
        <p:nvSpPr>
          <p:cNvPr id="45" name="文本框 44"/>
          <p:cNvSpPr txBox="1"/>
          <p:nvPr/>
        </p:nvSpPr>
        <p:spPr>
          <a:xfrm>
            <a:off x="10265006" y="6293295"/>
            <a:ext cx="1210588" cy="338554"/>
          </a:xfrm>
          <a:prstGeom prst="rect">
            <a:avLst/>
          </a:prstGeom>
          <a:solidFill>
            <a:srgbClr val="92D050"/>
          </a:solidFill>
        </p:spPr>
        <p:txBody>
          <a:bodyPr wrap="none" rtlCol="0">
            <a:spAutoFit/>
          </a:bodyPr>
          <a:lstStyle/>
          <a:p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高速出入口</a:t>
            </a:r>
          </a:p>
        </p:txBody>
      </p:sp>
      <p:sp>
        <p:nvSpPr>
          <p:cNvPr id="46" name="矩形: 圆角 134">
            <a:extLst>
              <a:ext uri="{FF2B5EF4-FFF2-40B4-BE49-F238E27FC236}">
                <a16:creationId xmlns="" xmlns:a16="http://schemas.microsoft.com/office/drawing/2014/main" id="{60C3F684-019C-4DD0-8A05-86C67604DC62}"/>
              </a:ext>
            </a:extLst>
          </p:cNvPr>
          <p:cNvSpPr/>
          <p:nvPr/>
        </p:nvSpPr>
        <p:spPr>
          <a:xfrm>
            <a:off x="9849998" y="5710184"/>
            <a:ext cx="942156" cy="374571"/>
          </a:xfrm>
          <a:prstGeom prst="roundRect">
            <a:avLst/>
          </a:prstGeom>
          <a:solidFill>
            <a:srgbClr val="DB67D5"/>
          </a:solidFill>
          <a:ln>
            <a:solidFill>
              <a:sysClr val="window" lastClr="FFFFFF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汽贸城</a:t>
            </a:r>
            <a:endParaRPr kumimoji="0" lang="zh-CN" altLang="en-US" sz="16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35734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矩形 20"/>
          <p:cNvSpPr/>
          <p:nvPr/>
        </p:nvSpPr>
        <p:spPr>
          <a:xfrm>
            <a:off x="328618" y="358130"/>
            <a:ext cx="4435111" cy="523208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r>
              <a:rPr lang="zh-CN" altLang="en-US" sz="28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项目四至及现状</a:t>
            </a:r>
            <a:endParaRPr lang="zh-CN" altLang="en-US" sz="2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" name="TextBox 1"/>
          <p:cNvSpPr txBox="1"/>
          <p:nvPr/>
        </p:nvSpPr>
        <p:spPr>
          <a:xfrm>
            <a:off x="394562" y="1581093"/>
            <a:ext cx="11765593" cy="1483130"/>
          </a:xfrm>
          <a:prstGeom prst="rect">
            <a:avLst/>
          </a:prstGeom>
          <a:solidFill>
            <a:sysClr val="window" lastClr="FFFFFF"/>
          </a:solidFill>
          <a:ln>
            <a:noFill/>
          </a:ln>
        </p:spPr>
        <p:txBody>
          <a:bodyPr wrap="square" lIns="97186" tIns="48593" rIns="97186" bIns="48593">
            <a:spAutoFit/>
          </a:bodyPr>
          <a:lstStyle>
            <a:defPPr>
              <a:defRPr lang="zh-CN"/>
            </a:defPPr>
            <a:lvl1pPr marR="0" lvl="0" indent="0" defTabSz="457200" fontAlgn="auto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sz="1400" b="1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defTabSz="483855" eaLnBrk="1" hangingPunct="1"/>
            <a:r>
              <a:rPr kumimoji="0" lang="zh-CN" altLang="en-US" sz="2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地块位于承德高新技术开发区南端，与主城区畅联规划路已于</a:t>
            </a:r>
            <a:r>
              <a:rPr kumimoji="0" lang="en-US" altLang="zh-CN" sz="2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2019</a:t>
            </a:r>
            <a:r>
              <a:rPr kumimoji="0" lang="zh-CN" altLang="en-US" sz="2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年开通</a:t>
            </a:r>
            <a:r>
              <a:rPr kumimoji="0" lang="en-US" altLang="zh-CN" sz="2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2km</a:t>
            </a:r>
            <a:r>
              <a:rPr kumimoji="0" lang="zh-CN" altLang="en-US" sz="2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；</a:t>
            </a:r>
            <a:endParaRPr kumimoji="0" lang="en-US" altLang="zh-CN" sz="20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defTabSz="483855" eaLnBrk="1" hangingPunct="1"/>
            <a:r>
              <a:rPr kumimoji="0" lang="zh-CN" altLang="en-US" sz="2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西侧背靠山脉，高差（</a:t>
            </a:r>
            <a:r>
              <a:rPr kumimoji="0" lang="en-US" altLang="zh-CN" sz="2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200m</a:t>
            </a:r>
            <a:r>
              <a:rPr kumimoji="0" lang="zh-CN" altLang="en-US" sz="2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），</a:t>
            </a:r>
            <a:r>
              <a:rPr lang="zh-CN" altLang="en-US" sz="2000" kern="0" dirty="0"/>
              <a:t>开发需要考虑山体</a:t>
            </a:r>
            <a:r>
              <a:rPr lang="zh-CN" altLang="en-US" sz="2000" kern="0" dirty="0">
                <a:solidFill>
                  <a:prstClr val="black"/>
                </a:solidFill>
              </a:rPr>
              <a:t>护坡，东侧可遥望滦河水系；</a:t>
            </a:r>
            <a:endParaRPr lang="en-US" altLang="zh-CN" sz="2000" kern="0" dirty="0">
              <a:solidFill>
                <a:prstClr val="black"/>
              </a:solidFill>
            </a:endParaRPr>
          </a:p>
          <a:p>
            <a:pPr defTabSz="483855" eaLnBrk="1" hangingPunct="1"/>
            <a:r>
              <a:rPr lang="zh-CN" altLang="en-US" sz="2000" kern="0" dirty="0">
                <a:solidFill>
                  <a:prstClr val="black"/>
                </a:solidFill>
              </a:rPr>
              <a:t>地块北侧尚有待拆迁民房。</a:t>
            </a:r>
            <a:endParaRPr lang="en-US" altLang="zh-CN" sz="2000" kern="0" dirty="0">
              <a:solidFill>
                <a:prstClr val="black"/>
              </a:solidFill>
            </a:endParaRPr>
          </a:p>
        </p:txBody>
      </p:sp>
      <p:grpSp>
        <p:nvGrpSpPr>
          <p:cNvPr id="10" name="组合 9"/>
          <p:cNvGrpSpPr/>
          <p:nvPr/>
        </p:nvGrpSpPr>
        <p:grpSpPr>
          <a:xfrm>
            <a:off x="394562" y="3589179"/>
            <a:ext cx="5757786" cy="4831487"/>
            <a:chOff x="389479" y="2113222"/>
            <a:chExt cx="3354263" cy="2814637"/>
          </a:xfrm>
        </p:grpSpPr>
        <p:pic>
          <p:nvPicPr>
            <p:cNvPr id="47" name="图片 46">
              <a:extLst>
                <a:ext uri="{FF2B5EF4-FFF2-40B4-BE49-F238E27FC236}">
                  <a16:creationId xmlns="" xmlns:a16="http://schemas.microsoft.com/office/drawing/2014/main" id="{04737343-BB99-4C30-A41F-9215FE22A92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479" y="2113222"/>
              <a:ext cx="3354263" cy="2814637"/>
            </a:xfrm>
            <a:prstGeom prst="rect">
              <a:avLst/>
            </a:prstGeom>
          </p:spPr>
        </p:pic>
        <p:sp>
          <p:nvSpPr>
            <p:cNvPr id="49" name="任意多边形: 形状 31">
              <a:extLst>
                <a:ext uri="{FF2B5EF4-FFF2-40B4-BE49-F238E27FC236}">
                  <a16:creationId xmlns="" xmlns:a16="http://schemas.microsoft.com/office/drawing/2014/main" id="{FD45D25B-7BDF-4882-9C95-A8325901BE73}"/>
                </a:ext>
              </a:extLst>
            </p:cNvPr>
            <p:cNvSpPr/>
            <p:nvPr/>
          </p:nvSpPr>
          <p:spPr>
            <a:xfrm rot="691288">
              <a:off x="2823135" y="4415869"/>
              <a:ext cx="144545" cy="253252"/>
            </a:xfrm>
            <a:custGeom>
              <a:avLst/>
              <a:gdLst>
                <a:gd name="connsiteX0" fmla="*/ 1603513 w 1603513"/>
                <a:gd name="connsiteY0" fmla="*/ 198782 h 2809461"/>
                <a:gd name="connsiteX1" fmla="*/ 1325217 w 1603513"/>
                <a:gd name="connsiteY1" fmla="*/ 0 h 2809461"/>
                <a:gd name="connsiteX2" fmla="*/ 927652 w 1603513"/>
                <a:gd name="connsiteY2" fmla="*/ 742121 h 2809461"/>
                <a:gd name="connsiteX3" fmla="*/ 357808 w 1603513"/>
                <a:gd name="connsiteY3" fmla="*/ 463826 h 2809461"/>
                <a:gd name="connsiteX4" fmla="*/ 92765 w 1603513"/>
                <a:gd name="connsiteY4" fmla="*/ 1046921 h 2809461"/>
                <a:gd name="connsiteX5" fmla="*/ 0 w 1603513"/>
                <a:gd name="connsiteY5" fmla="*/ 1789043 h 2809461"/>
                <a:gd name="connsiteX6" fmla="*/ 185530 w 1603513"/>
                <a:gd name="connsiteY6" fmla="*/ 2809461 h 2809461"/>
                <a:gd name="connsiteX7" fmla="*/ 304800 w 1603513"/>
                <a:gd name="connsiteY7" fmla="*/ 2796208 h 2809461"/>
                <a:gd name="connsiteX8" fmla="*/ 304800 w 1603513"/>
                <a:gd name="connsiteY8" fmla="*/ 2796208 h 2809461"/>
                <a:gd name="connsiteX9" fmla="*/ 622852 w 1603513"/>
                <a:gd name="connsiteY9" fmla="*/ 2398643 h 2809461"/>
                <a:gd name="connsiteX10" fmla="*/ 1603513 w 1603513"/>
                <a:gd name="connsiteY10" fmla="*/ 198782 h 2809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03513" h="2809461">
                  <a:moveTo>
                    <a:pt x="1603513" y="198782"/>
                  </a:moveTo>
                  <a:lnTo>
                    <a:pt x="1325217" y="0"/>
                  </a:lnTo>
                  <a:lnTo>
                    <a:pt x="927652" y="742121"/>
                  </a:lnTo>
                  <a:lnTo>
                    <a:pt x="357808" y="463826"/>
                  </a:lnTo>
                  <a:lnTo>
                    <a:pt x="92765" y="1046921"/>
                  </a:lnTo>
                  <a:lnTo>
                    <a:pt x="0" y="1789043"/>
                  </a:lnTo>
                  <a:lnTo>
                    <a:pt x="185530" y="2809461"/>
                  </a:lnTo>
                  <a:lnTo>
                    <a:pt x="304800" y="2796208"/>
                  </a:lnTo>
                  <a:lnTo>
                    <a:pt x="304800" y="2796208"/>
                  </a:lnTo>
                  <a:lnTo>
                    <a:pt x="622852" y="2398643"/>
                  </a:lnTo>
                  <a:lnTo>
                    <a:pt x="1603513" y="198782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ckwell" panose="02060603020205020403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54" name="组合 53"/>
          <p:cNvGrpSpPr/>
          <p:nvPr/>
        </p:nvGrpSpPr>
        <p:grpSpPr>
          <a:xfrm>
            <a:off x="6211103" y="3589178"/>
            <a:ext cx="5838402" cy="4831487"/>
            <a:chOff x="6814877" y="2113223"/>
            <a:chExt cx="5286375" cy="4581525"/>
          </a:xfrm>
        </p:grpSpPr>
        <p:pic>
          <p:nvPicPr>
            <p:cNvPr id="34" name="图片 33">
              <a:extLst>
                <a:ext uri="{FF2B5EF4-FFF2-40B4-BE49-F238E27FC236}">
                  <a16:creationId xmlns="" xmlns:a16="http://schemas.microsoft.com/office/drawing/2014/main" id="{EA9C17C9-F80F-4DC4-86A7-E03016A2096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14877" y="2113223"/>
              <a:ext cx="5286375" cy="4581525"/>
            </a:xfrm>
            <a:prstGeom prst="rect">
              <a:avLst/>
            </a:prstGeom>
          </p:spPr>
        </p:pic>
        <p:sp>
          <p:nvSpPr>
            <p:cNvPr id="35" name="矩形: 圆角 12">
              <a:extLst>
                <a:ext uri="{FF2B5EF4-FFF2-40B4-BE49-F238E27FC236}">
                  <a16:creationId xmlns="" xmlns:a16="http://schemas.microsoft.com/office/drawing/2014/main" id="{6961597E-B360-426D-8F2D-472464DC124B}"/>
                </a:ext>
              </a:extLst>
            </p:cNvPr>
            <p:cNvSpPr/>
            <p:nvPr/>
          </p:nvSpPr>
          <p:spPr>
            <a:xfrm>
              <a:off x="11103756" y="5426841"/>
              <a:ext cx="886751" cy="256309"/>
            </a:xfrm>
            <a:prstGeom prst="roundRect">
              <a:avLst/>
            </a:prstGeom>
            <a:solidFill>
              <a:srgbClr val="F81B02"/>
            </a:solidFill>
            <a:ln w="15875" cap="flat" cmpd="sng" algn="ctr">
              <a:solidFill>
                <a:srgbClr val="F81B02">
                  <a:shade val="50000"/>
                  <a:shade val="9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ckwell" panose="02060603020205020403"/>
                  <a:ea typeface="宋体" panose="02010600030101010101" pitchFamily="2" charset="-122"/>
                  <a:cs typeface="+mn-cs"/>
                </a:rPr>
                <a:t>标高</a:t>
              </a: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ckwell" panose="02060603020205020403"/>
                  <a:ea typeface="宋体" panose="02010600030101010101" pitchFamily="2" charset="-122"/>
                  <a:cs typeface="+mn-cs"/>
                </a:rPr>
                <a:t>300</a:t>
              </a: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ckwell" panose="02060603020205020403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6" name="矩形: 圆角 13">
              <a:extLst>
                <a:ext uri="{FF2B5EF4-FFF2-40B4-BE49-F238E27FC236}">
                  <a16:creationId xmlns="" xmlns:a16="http://schemas.microsoft.com/office/drawing/2014/main" id="{65BE6EF2-60BE-4B53-9C4B-2F864C975723}"/>
                </a:ext>
              </a:extLst>
            </p:cNvPr>
            <p:cNvSpPr/>
            <p:nvPr/>
          </p:nvSpPr>
          <p:spPr>
            <a:xfrm>
              <a:off x="11103756" y="4671552"/>
              <a:ext cx="886751" cy="256309"/>
            </a:xfrm>
            <a:prstGeom prst="roundRect">
              <a:avLst/>
            </a:prstGeom>
            <a:solidFill>
              <a:srgbClr val="F81B02"/>
            </a:solidFill>
            <a:ln w="15875" cap="flat" cmpd="sng" algn="ctr">
              <a:solidFill>
                <a:srgbClr val="F81B02">
                  <a:shade val="50000"/>
                  <a:shade val="9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ckwell" panose="02060603020205020403"/>
                  <a:ea typeface="宋体" panose="02010600030101010101" pitchFamily="2" charset="-122"/>
                  <a:cs typeface="+mn-cs"/>
                </a:rPr>
                <a:t>标高</a:t>
              </a: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ckwell" panose="02060603020205020403"/>
                  <a:ea typeface="宋体" panose="02010600030101010101" pitchFamily="2" charset="-122"/>
                  <a:cs typeface="+mn-cs"/>
                </a:rPr>
                <a:t>330</a:t>
              </a: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ckwell" panose="02060603020205020403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7" name="矩形: 圆角 14">
              <a:extLst>
                <a:ext uri="{FF2B5EF4-FFF2-40B4-BE49-F238E27FC236}">
                  <a16:creationId xmlns="" xmlns:a16="http://schemas.microsoft.com/office/drawing/2014/main" id="{338164FE-C0E6-429E-A22F-98F537D1EE40}"/>
                </a:ext>
              </a:extLst>
            </p:cNvPr>
            <p:cNvSpPr/>
            <p:nvPr/>
          </p:nvSpPr>
          <p:spPr>
            <a:xfrm>
              <a:off x="8848405" y="5996717"/>
              <a:ext cx="886751" cy="256309"/>
            </a:xfrm>
            <a:prstGeom prst="roundRect">
              <a:avLst/>
            </a:prstGeom>
            <a:solidFill>
              <a:srgbClr val="F81B02"/>
            </a:solidFill>
            <a:ln w="15875" cap="flat" cmpd="sng" algn="ctr">
              <a:solidFill>
                <a:srgbClr val="F81B02">
                  <a:shade val="50000"/>
                  <a:shade val="9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ckwell" panose="02060603020205020403"/>
                  <a:ea typeface="宋体" panose="02010600030101010101" pitchFamily="2" charset="-122"/>
                  <a:cs typeface="+mn-cs"/>
                </a:rPr>
                <a:t>标高</a:t>
              </a: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ckwell" panose="02060603020205020403"/>
                  <a:ea typeface="宋体" panose="02010600030101010101" pitchFamily="2" charset="-122"/>
                  <a:cs typeface="+mn-cs"/>
                </a:rPr>
                <a:t>500</a:t>
              </a: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ckwell" panose="02060603020205020403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8" name="矩形: 圆角 15">
              <a:extLst>
                <a:ext uri="{FF2B5EF4-FFF2-40B4-BE49-F238E27FC236}">
                  <a16:creationId xmlns="" xmlns:a16="http://schemas.microsoft.com/office/drawing/2014/main" id="{FCCD862D-2AFE-48C0-911A-DDBC96FD7A8A}"/>
                </a:ext>
              </a:extLst>
            </p:cNvPr>
            <p:cNvSpPr/>
            <p:nvPr/>
          </p:nvSpPr>
          <p:spPr>
            <a:xfrm>
              <a:off x="8794779" y="4403985"/>
              <a:ext cx="886751" cy="256309"/>
            </a:xfrm>
            <a:prstGeom prst="roundRect">
              <a:avLst/>
            </a:prstGeom>
            <a:solidFill>
              <a:srgbClr val="F81B02"/>
            </a:solidFill>
            <a:ln w="15875" cap="flat" cmpd="sng" algn="ctr">
              <a:solidFill>
                <a:srgbClr val="F81B02">
                  <a:shade val="50000"/>
                  <a:shade val="9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ckwell" panose="02060603020205020403"/>
                  <a:ea typeface="宋体" panose="02010600030101010101" pitchFamily="2" charset="-122"/>
                  <a:cs typeface="+mn-cs"/>
                </a:rPr>
                <a:t>标高</a:t>
              </a: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ckwell" panose="02060603020205020403"/>
                  <a:ea typeface="宋体" panose="02010600030101010101" pitchFamily="2" charset="-122"/>
                  <a:cs typeface="+mn-cs"/>
                </a:rPr>
                <a:t>400</a:t>
              </a: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ckwell" panose="02060603020205020403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9" name="矩形: 圆角 19">
              <a:extLst>
                <a:ext uri="{FF2B5EF4-FFF2-40B4-BE49-F238E27FC236}">
                  <a16:creationId xmlns="" xmlns:a16="http://schemas.microsoft.com/office/drawing/2014/main" id="{8B1CA21F-C77B-463B-B2E3-ADD11938D310}"/>
                </a:ext>
              </a:extLst>
            </p:cNvPr>
            <p:cNvSpPr/>
            <p:nvPr/>
          </p:nvSpPr>
          <p:spPr>
            <a:xfrm>
              <a:off x="10120053" y="3204270"/>
              <a:ext cx="886751" cy="256309"/>
            </a:xfrm>
            <a:prstGeom prst="roundRect">
              <a:avLst/>
            </a:prstGeom>
            <a:solidFill>
              <a:srgbClr val="F81B02"/>
            </a:solidFill>
            <a:ln w="15875" cap="flat" cmpd="sng" algn="ctr">
              <a:solidFill>
                <a:srgbClr val="F81B02">
                  <a:shade val="50000"/>
                  <a:shade val="9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ckwell" panose="02060603020205020403"/>
                  <a:ea typeface="宋体" panose="02010600030101010101" pitchFamily="2" charset="-122"/>
                  <a:cs typeface="+mn-cs"/>
                </a:rPr>
                <a:t>标高</a:t>
              </a: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ckwell" panose="02060603020205020403"/>
                  <a:ea typeface="宋体" panose="02010600030101010101" pitchFamily="2" charset="-122"/>
                  <a:cs typeface="+mn-cs"/>
                </a:rPr>
                <a:t>300</a:t>
              </a: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ckwell" panose="02060603020205020403"/>
                <a:ea typeface="宋体" panose="02010600030101010101" pitchFamily="2" charset="-122"/>
                <a:cs typeface="+mn-cs"/>
              </a:endParaRPr>
            </a:p>
          </p:txBody>
        </p:sp>
        <p:cxnSp>
          <p:nvCxnSpPr>
            <p:cNvPr id="40" name="直接箭头连接符 39">
              <a:extLst>
                <a:ext uri="{FF2B5EF4-FFF2-40B4-BE49-F238E27FC236}">
                  <a16:creationId xmlns="" xmlns:a16="http://schemas.microsoft.com/office/drawing/2014/main" id="{D68272B8-C3AB-4094-ABF5-9ACEE23F482F}"/>
                </a:ext>
              </a:extLst>
            </p:cNvPr>
            <p:cNvCxnSpPr>
              <a:stCxn id="35" idx="1"/>
            </p:cNvCxnSpPr>
            <p:nvPr/>
          </p:nvCxnSpPr>
          <p:spPr>
            <a:xfrm flipH="1">
              <a:off x="10746538" y="5554996"/>
              <a:ext cx="357218" cy="375912"/>
            </a:xfrm>
            <a:prstGeom prst="straightConnector1">
              <a:avLst/>
            </a:prstGeom>
            <a:noFill/>
            <a:ln w="9525" cap="flat" cmpd="sng" algn="ctr">
              <a:solidFill>
                <a:srgbClr val="F81B02">
                  <a:shade val="90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41" name="直接箭头连接符 40">
              <a:extLst>
                <a:ext uri="{FF2B5EF4-FFF2-40B4-BE49-F238E27FC236}">
                  <a16:creationId xmlns="" xmlns:a16="http://schemas.microsoft.com/office/drawing/2014/main" id="{5246C10D-2DB1-4F45-A443-84C4387B541A}"/>
                </a:ext>
              </a:extLst>
            </p:cNvPr>
            <p:cNvCxnSpPr>
              <a:stCxn id="36" idx="1"/>
            </p:cNvCxnSpPr>
            <p:nvPr/>
          </p:nvCxnSpPr>
          <p:spPr>
            <a:xfrm flipH="1">
              <a:off x="10621938" y="4799707"/>
              <a:ext cx="481818" cy="495516"/>
            </a:xfrm>
            <a:prstGeom prst="straightConnector1">
              <a:avLst/>
            </a:prstGeom>
            <a:noFill/>
            <a:ln w="9525" cap="flat" cmpd="sng" algn="ctr">
              <a:solidFill>
                <a:srgbClr val="F81B02">
                  <a:shade val="90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42" name="直接箭头连接符 41">
              <a:extLst>
                <a:ext uri="{FF2B5EF4-FFF2-40B4-BE49-F238E27FC236}">
                  <a16:creationId xmlns="" xmlns:a16="http://schemas.microsoft.com/office/drawing/2014/main" id="{10762D68-E358-4CD0-8BC8-F4D4415B28DA}"/>
                </a:ext>
              </a:extLst>
            </p:cNvPr>
            <p:cNvCxnSpPr>
              <a:stCxn id="39" idx="1"/>
            </p:cNvCxnSpPr>
            <p:nvPr/>
          </p:nvCxnSpPr>
          <p:spPr>
            <a:xfrm flipH="1">
              <a:off x="9735156" y="3332425"/>
              <a:ext cx="384897" cy="513051"/>
            </a:xfrm>
            <a:prstGeom prst="straightConnector1">
              <a:avLst/>
            </a:prstGeom>
            <a:noFill/>
            <a:ln w="9525" cap="flat" cmpd="sng" algn="ctr">
              <a:solidFill>
                <a:srgbClr val="F81B02">
                  <a:shade val="90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43" name="直接箭头连接符 42">
              <a:extLst>
                <a:ext uri="{FF2B5EF4-FFF2-40B4-BE49-F238E27FC236}">
                  <a16:creationId xmlns="" xmlns:a16="http://schemas.microsoft.com/office/drawing/2014/main" id="{2E42F3F2-9C46-49E5-9818-52D89E752CA1}"/>
                </a:ext>
              </a:extLst>
            </p:cNvPr>
            <p:cNvCxnSpPr>
              <a:stCxn id="38" idx="2"/>
            </p:cNvCxnSpPr>
            <p:nvPr/>
          </p:nvCxnSpPr>
          <p:spPr>
            <a:xfrm>
              <a:off x="9238155" y="4660294"/>
              <a:ext cx="775870" cy="370826"/>
            </a:xfrm>
            <a:prstGeom prst="straightConnector1">
              <a:avLst/>
            </a:prstGeom>
            <a:noFill/>
            <a:ln w="9525" cap="flat" cmpd="sng" algn="ctr">
              <a:solidFill>
                <a:srgbClr val="F81B02">
                  <a:shade val="90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44" name="直接箭头连接符 43">
              <a:extLst>
                <a:ext uri="{FF2B5EF4-FFF2-40B4-BE49-F238E27FC236}">
                  <a16:creationId xmlns="" xmlns:a16="http://schemas.microsoft.com/office/drawing/2014/main" id="{52F36DB8-16C3-4FE1-B0F1-EF97074C1FCB}"/>
                </a:ext>
              </a:extLst>
            </p:cNvPr>
            <p:cNvCxnSpPr>
              <a:stCxn id="37" idx="3"/>
            </p:cNvCxnSpPr>
            <p:nvPr/>
          </p:nvCxnSpPr>
          <p:spPr>
            <a:xfrm>
              <a:off x="9735156" y="6124872"/>
              <a:ext cx="574964" cy="128154"/>
            </a:xfrm>
            <a:prstGeom prst="straightConnector1">
              <a:avLst/>
            </a:prstGeom>
            <a:noFill/>
            <a:ln w="9525" cap="flat" cmpd="sng" algn="ctr">
              <a:solidFill>
                <a:srgbClr val="F81B02">
                  <a:shade val="90000"/>
                </a:srgbClr>
              </a:solidFill>
              <a:prstDash val="solid"/>
              <a:tailEnd type="triangle"/>
            </a:ln>
            <a:effectLst/>
          </p:spPr>
        </p:cxnSp>
        <p:sp>
          <p:nvSpPr>
            <p:cNvPr id="45" name="任意多边形: 形状 27">
              <a:extLst>
                <a:ext uri="{FF2B5EF4-FFF2-40B4-BE49-F238E27FC236}">
                  <a16:creationId xmlns="" xmlns:a16="http://schemas.microsoft.com/office/drawing/2014/main" id="{FCC07D89-3760-4D99-8E83-B176902EAB90}"/>
                </a:ext>
              </a:extLst>
            </p:cNvPr>
            <p:cNvSpPr/>
            <p:nvPr/>
          </p:nvSpPr>
          <p:spPr>
            <a:xfrm rot="691288">
              <a:off x="10547130" y="5856007"/>
              <a:ext cx="296296" cy="519130"/>
            </a:xfrm>
            <a:custGeom>
              <a:avLst/>
              <a:gdLst>
                <a:gd name="connsiteX0" fmla="*/ 1603513 w 1603513"/>
                <a:gd name="connsiteY0" fmla="*/ 198782 h 2809461"/>
                <a:gd name="connsiteX1" fmla="*/ 1325217 w 1603513"/>
                <a:gd name="connsiteY1" fmla="*/ 0 h 2809461"/>
                <a:gd name="connsiteX2" fmla="*/ 927652 w 1603513"/>
                <a:gd name="connsiteY2" fmla="*/ 742121 h 2809461"/>
                <a:gd name="connsiteX3" fmla="*/ 357808 w 1603513"/>
                <a:gd name="connsiteY3" fmla="*/ 463826 h 2809461"/>
                <a:gd name="connsiteX4" fmla="*/ 92765 w 1603513"/>
                <a:gd name="connsiteY4" fmla="*/ 1046921 h 2809461"/>
                <a:gd name="connsiteX5" fmla="*/ 0 w 1603513"/>
                <a:gd name="connsiteY5" fmla="*/ 1789043 h 2809461"/>
                <a:gd name="connsiteX6" fmla="*/ 185530 w 1603513"/>
                <a:gd name="connsiteY6" fmla="*/ 2809461 h 2809461"/>
                <a:gd name="connsiteX7" fmla="*/ 304800 w 1603513"/>
                <a:gd name="connsiteY7" fmla="*/ 2796208 h 2809461"/>
                <a:gd name="connsiteX8" fmla="*/ 304800 w 1603513"/>
                <a:gd name="connsiteY8" fmla="*/ 2796208 h 2809461"/>
                <a:gd name="connsiteX9" fmla="*/ 622852 w 1603513"/>
                <a:gd name="connsiteY9" fmla="*/ 2398643 h 2809461"/>
                <a:gd name="connsiteX10" fmla="*/ 1603513 w 1603513"/>
                <a:gd name="connsiteY10" fmla="*/ 198782 h 2809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03513" h="2809461">
                  <a:moveTo>
                    <a:pt x="1603513" y="198782"/>
                  </a:moveTo>
                  <a:lnTo>
                    <a:pt x="1325217" y="0"/>
                  </a:lnTo>
                  <a:lnTo>
                    <a:pt x="927652" y="742121"/>
                  </a:lnTo>
                  <a:lnTo>
                    <a:pt x="357808" y="463826"/>
                  </a:lnTo>
                  <a:lnTo>
                    <a:pt x="92765" y="1046921"/>
                  </a:lnTo>
                  <a:lnTo>
                    <a:pt x="0" y="1789043"/>
                  </a:lnTo>
                  <a:lnTo>
                    <a:pt x="185530" y="2809461"/>
                  </a:lnTo>
                  <a:lnTo>
                    <a:pt x="304800" y="2796208"/>
                  </a:lnTo>
                  <a:lnTo>
                    <a:pt x="304800" y="2796208"/>
                  </a:lnTo>
                  <a:lnTo>
                    <a:pt x="622852" y="2398643"/>
                  </a:lnTo>
                  <a:lnTo>
                    <a:pt x="1603513" y="198782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ckwell" panose="02060603020205020403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50" name="任意多边形: 形状 32">
              <a:extLst>
                <a:ext uri="{FF2B5EF4-FFF2-40B4-BE49-F238E27FC236}">
                  <a16:creationId xmlns="" xmlns:a16="http://schemas.microsoft.com/office/drawing/2014/main" id="{922169A8-40FC-4438-A500-35CE2E7B3BF9}"/>
                </a:ext>
              </a:extLst>
            </p:cNvPr>
            <p:cNvSpPr/>
            <p:nvPr/>
          </p:nvSpPr>
          <p:spPr>
            <a:xfrm>
              <a:off x="10515558" y="5075931"/>
              <a:ext cx="605512" cy="1607128"/>
            </a:xfrm>
            <a:custGeom>
              <a:avLst/>
              <a:gdLst>
                <a:gd name="connsiteX0" fmla="*/ 23621 w 577803"/>
                <a:gd name="connsiteY0" fmla="*/ 0 h 1521413"/>
                <a:gd name="connsiteX1" fmla="*/ 328421 w 577803"/>
                <a:gd name="connsiteY1" fmla="*/ 249382 h 1521413"/>
                <a:gd name="connsiteX2" fmla="*/ 356130 w 577803"/>
                <a:gd name="connsiteY2" fmla="*/ 748146 h 1521413"/>
                <a:gd name="connsiteX3" fmla="*/ 342276 w 577803"/>
                <a:gd name="connsiteY3" fmla="*/ 955964 h 1521413"/>
                <a:gd name="connsiteX4" fmla="*/ 79039 w 577803"/>
                <a:gd name="connsiteY4" fmla="*/ 1288473 h 1521413"/>
                <a:gd name="connsiteX5" fmla="*/ 37476 w 577803"/>
                <a:gd name="connsiteY5" fmla="*/ 1496291 h 1521413"/>
                <a:gd name="connsiteX6" fmla="*/ 577803 w 577803"/>
                <a:gd name="connsiteY6" fmla="*/ 1510146 h 1521413"/>
                <a:gd name="connsiteX0-1" fmla="*/ 23621 w 577803"/>
                <a:gd name="connsiteY0-2" fmla="*/ 0 h 1510146"/>
                <a:gd name="connsiteX1-3" fmla="*/ 328421 w 577803"/>
                <a:gd name="connsiteY1-4" fmla="*/ 249382 h 1510146"/>
                <a:gd name="connsiteX2-5" fmla="*/ 356130 w 577803"/>
                <a:gd name="connsiteY2-6" fmla="*/ 748146 h 1510146"/>
                <a:gd name="connsiteX3-7" fmla="*/ 342276 w 577803"/>
                <a:gd name="connsiteY3-8" fmla="*/ 955964 h 1510146"/>
                <a:gd name="connsiteX4-9" fmla="*/ 79039 w 577803"/>
                <a:gd name="connsiteY4-10" fmla="*/ 1288473 h 1510146"/>
                <a:gd name="connsiteX5-11" fmla="*/ 37476 w 577803"/>
                <a:gd name="connsiteY5-12" fmla="*/ 1496291 h 1510146"/>
                <a:gd name="connsiteX6-13" fmla="*/ 577803 w 577803"/>
                <a:gd name="connsiteY6-14" fmla="*/ 1510146 h 1510146"/>
                <a:gd name="connsiteX0-15" fmla="*/ 23621 w 605512"/>
                <a:gd name="connsiteY0-16" fmla="*/ 0 h 1607128"/>
                <a:gd name="connsiteX1-17" fmla="*/ 328421 w 605512"/>
                <a:gd name="connsiteY1-18" fmla="*/ 249382 h 1607128"/>
                <a:gd name="connsiteX2-19" fmla="*/ 356130 w 605512"/>
                <a:gd name="connsiteY2-20" fmla="*/ 748146 h 1607128"/>
                <a:gd name="connsiteX3-21" fmla="*/ 342276 w 605512"/>
                <a:gd name="connsiteY3-22" fmla="*/ 955964 h 1607128"/>
                <a:gd name="connsiteX4-23" fmla="*/ 79039 w 605512"/>
                <a:gd name="connsiteY4-24" fmla="*/ 1288473 h 1607128"/>
                <a:gd name="connsiteX5-25" fmla="*/ 37476 w 605512"/>
                <a:gd name="connsiteY5-26" fmla="*/ 1496291 h 1607128"/>
                <a:gd name="connsiteX6-27" fmla="*/ 605512 w 605512"/>
                <a:gd name="connsiteY6-28" fmla="*/ 1607128 h 160712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</a:cxnLst>
              <a:rect l="l" t="t" r="r" b="b"/>
              <a:pathLst>
                <a:path w="605512" h="1607128">
                  <a:moveTo>
                    <a:pt x="23621" y="0"/>
                  </a:moveTo>
                  <a:cubicBezTo>
                    <a:pt x="148312" y="62345"/>
                    <a:pt x="273003" y="124691"/>
                    <a:pt x="328421" y="249382"/>
                  </a:cubicBezTo>
                  <a:cubicBezTo>
                    <a:pt x="383839" y="374073"/>
                    <a:pt x="353821" y="630382"/>
                    <a:pt x="356130" y="748146"/>
                  </a:cubicBezTo>
                  <a:cubicBezTo>
                    <a:pt x="358439" y="865910"/>
                    <a:pt x="388458" y="865910"/>
                    <a:pt x="342276" y="955964"/>
                  </a:cubicBezTo>
                  <a:cubicBezTo>
                    <a:pt x="296094" y="1046019"/>
                    <a:pt x="129839" y="1198419"/>
                    <a:pt x="79039" y="1288473"/>
                  </a:cubicBezTo>
                  <a:cubicBezTo>
                    <a:pt x="28239" y="1378527"/>
                    <a:pt x="-45651" y="1459345"/>
                    <a:pt x="37476" y="1496291"/>
                  </a:cubicBezTo>
                  <a:cubicBezTo>
                    <a:pt x="120603" y="1533237"/>
                    <a:pt x="543167" y="1466273"/>
                    <a:pt x="605512" y="1607128"/>
                  </a:cubicBezTo>
                </a:path>
              </a:pathLst>
            </a:custGeom>
            <a:noFill/>
            <a:ln w="3810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ckwell" panose="02060603020205020403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51" name="等腰三角形 50">
              <a:extLst>
                <a:ext uri="{FF2B5EF4-FFF2-40B4-BE49-F238E27FC236}">
                  <a16:creationId xmlns="" xmlns:a16="http://schemas.microsoft.com/office/drawing/2014/main" id="{7DE24F3E-98D3-424E-AAA7-237D5FBC649A}"/>
                </a:ext>
              </a:extLst>
            </p:cNvPr>
            <p:cNvSpPr/>
            <p:nvPr/>
          </p:nvSpPr>
          <p:spPr>
            <a:xfrm>
              <a:off x="7103251" y="5930908"/>
              <a:ext cx="152400" cy="322118"/>
            </a:xfrm>
            <a:prstGeom prst="triangle">
              <a:avLst/>
            </a:prstGeom>
            <a:solidFill>
              <a:srgbClr val="F81B02"/>
            </a:solidFill>
            <a:ln w="15875" cap="flat" cmpd="sng" algn="ctr">
              <a:solidFill>
                <a:srgbClr val="F81B02">
                  <a:shade val="50000"/>
                  <a:shade val="9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ckwell" panose="02060603020205020403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="" xmlns:a16="http://schemas.microsoft.com/office/drawing/2014/main" id="{2A63389E-CB1A-4B66-BDE6-42764E57A082}"/>
                </a:ext>
              </a:extLst>
            </p:cNvPr>
            <p:cNvSpPr/>
            <p:nvPr/>
          </p:nvSpPr>
          <p:spPr>
            <a:xfrm>
              <a:off x="6834645" y="5100050"/>
              <a:ext cx="689612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  <a:buFontTx/>
                <a:buNone/>
              </a:pPr>
              <a:r>
                <a:rPr lang="en-US" altLang="zh-CN" sz="5400" dirty="0">
                  <a:ln w="0"/>
                  <a:gradFill>
                    <a:gsLst>
                      <a:gs pos="21000">
                        <a:srgbClr val="53575C"/>
                      </a:gs>
                      <a:gs pos="88000">
                        <a:srgbClr val="C5C7CA"/>
                      </a:gs>
                    </a:gsLst>
                    <a:lin ang="5400000"/>
                  </a:gradFill>
                  <a:latin typeface="Rockwell" panose="02060603020205020403"/>
                </a:rPr>
                <a:t>N</a:t>
              </a:r>
              <a:endParaRPr lang="zh-CN" altLang="en-US" sz="5400" dirty="0">
                <a:ln w="0"/>
                <a:gradFill>
                  <a:gsLst>
                    <a:gs pos="21000">
                      <a:srgbClr val="53575C"/>
                    </a:gs>
                    <a:gs pos="88000">
                      <a:srgbClr val="C5C7CA"/>
                    </a:gs>
                  </a:gsLst>
                  <a:lin ang="5400000"/>
                </a:gradFill>
                <a:latin typeface="Rockwell" panose="02060603020205020403"/>
              </a:endParaRPr>
            </a:p>
          </p:txBody>
        </p:sp>
      </p:grpSp>
      <p:sp>
        <p:nvSpPr>
          <p:cNvPr id="58" name="圆角矩形标注 57"/>
          <p:cNvSpPr/>
          <p:nvPr/>
        </p:nvSpPr>
        <p:spPr bwMode="auto">
          <a:xfrm>
            <a:off x="3668999" y="7218729"/>
            <a:ext cx="713832" cy="393660"/>
          </a:xfrm>
          <a:prstGeom prst="wedgeRoundRectCallout">
            <a:avLst>
              <a:gd name="adj1" fmla="val 63208"/>
              <a:gd name="adj2" fmla="val 87368"/>
              <a:gd name="adj3" fmla="val 16667"/>
            </a:avLst>
          </a:prstGeom>
          <a:solidFill>
            <a:srgbClr val="C0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kumimoji="0" lang="zh-CN" altLang="en-US" sz="1800" b="1" i="0" u="none" strike="noStrike" cap="none" normalizeH="0" baseline="0" dirty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本案</a:t>
            </a:r>
          </a:p>
        </p:txBody>
      </p:sp>
      <p:sp>
        <p:nvSpPr>
          <p:cNvPr id="59" name="文本框 58"/>
          <p:cNvSpPr txBox="1"/>
          <p:nvPr/>
        </p:nvSpPr>
        <p:spPr>
          <a:xfrm>
            <a:off x="4956326" y="7296476"/>
            <a:ext cx="319763" cy="523220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滦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河</a:t>
            </a:r>
          </a:p>
        </p:txBody>
      </p:sp>
      <p:pic>
        <p:nvPicPr>
          <p:cNvPr id="60" name="图片 59">
            <a:extLst>
              <a:ext uri="{FF2B5EF4-FFF2-40B4-BE49-F238E27FC236}">
                <a16:creationId xmlns="" xmlns:a16="http://schemas.microsoft.com/office/drawing/2014/main" id="{C9CE5D7A-168C-41A1-8991-4F734BF00AB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09" t="19596" r="40795" b="25517"/>
          <a:stretch>
            <a:fillRect/>
          </a:stretch>
        </p:blipFill>
        <p:spPr>
          <a:xfrm>
            <a:off x="3818244" y="3606316"/>
            <a:ext cx="2334104" cy="1573565"/>
          </a:xfrm>
          <a:prstGeom prst="rect">
            <a:avLst/>
          </a:prstGeom>
        </p:spPr>
      </p:pic>
      <p:cxnSp>
        <p:nvCxnSpPr>
          <p:cNvPr id="62" name="直接箭头连接符 61"/>
          <p:cNvCxnSpPr>
            <a:endCxn id="60" idx="2"/>
          </p:cNvCxnSpPr>
          <p:nvPr/>
        </p:nvCxnSpPr>
        <p:spPr bwMode="auto">
          <a:xfrm flipV="1">
            <a:off x="4719388" y="5179881"/>
            <a:ext cx="265908" cy="2381052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0" name="矩形 69"/>
          <p:cNvSpPr/>
          <p:nvPr/>
        </p:nvSpPr>
        <p:spPr>
          <a:xfrm>
            <a:off x="5133297" y="3616255"/>
            <a:ext cx="1005403" cy="33855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none">
            <a:spAutoFit/>
          </a:bodyPr>
          <a:lstStyle/>
          <a:p>
            <a:r>
              <a:rPr lang="zh-CN" altLang="en-US" sz="16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北侧民房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1" name="图片 70">
            <a:extLst>
              <a:ext uri="{FF2B5EF4-FFF2-40B4-BE49-F238E27FC236}">
                <a16:creationId xmlns="" xmlns:a16="http://schemas.microsoft.com/office/drawing/2014/main" id="{3AC825BF-7212-4425-A16D-044760A96B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35136" y="5944298"/>
            <a:ext cx="304226" cy="303640"/>
          </a:xfrm>
          <a:prstGeom prst="rect">
            <a:avLst/>
          </a:prstGeom>
        </p:spPr>
      </p:pic>
      <p:sp>
        <p:nvSpPr>
          <p:cNvPr id="72" name="矩形: 圆角 134">
            <a:extLst>
              <a:ext uri="{FF2B5EF4-FFF2-40B4-BE49-F238E27FC236}">
                <a16:creationId xmlns="" xmlns:a16="http://schemas.microsoft.com/office/drawing/2014/main" id="{60C3F684-019C-4DD0-8A05-86C67604DC62}"/>
              </a:ext>
            </a:extLst>
          </p:cNvPr>
          <p:cNvSpPr/>
          <p:nvPr/>
        </p:nvSpPr>
        <p:spPr>
          <a:xfrm>
            <a:off x="2957972" y="6283946"/>
            <a:ext cx="1197862" cy="382326"/>
          </a:xfrm>
          <a:prstGeom prst="roundRect">
            <a:avLst/>
          </a:prstGeom>
          <a:solidFill>
            <a:srgbClr val="2FA6FF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承德南站</a:t>
            </a:r>
            <a:endParaRPr kumimoji="0" lang="zh-CN" altLang="en-US" sz="18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5" name="矩形: 圆角 134">
            <a:extLst>
              <a:ext uri="{FF2B5EF4-FFF2-40B4-BE49-F238E27FC236}">
                <a16:creationId xmlns="" xmlns:a16="http://schemas.microsoft.com/office/drawing/2014/main" id="{60C3F684-019C-4DD0-8A05-86C67604DC62}"/>
              </a:ext>
            </a:extLst>
          </p:cNvPr>
          <p:cNvSpPr/>
          <p:nvPr/>
        </p:nvSpPr>
        <p:spPr>
          <a:xfrm>
            <a:off x="2091590" y="7376374"/>
            <a:ext cx="1458940" cy="408623"/>
          </a:xfrm>
          <a:prstGeom prst="roundRect">
            <a:avLst/>
          </a:prstGeom>
          <a:solidFill>
            <a:srgbClr val="FFC000"/>
          </a:solidFill>
          <a:ln>
            <a:solidFill>
              <a:sysClr val="window" lastClr="FFFFFF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国际滑雪场</a:t>
            </a:r>
          </a:p>
        </p:txBody>
      </p:sp>
    </p:spTree>
    <p:extLst>
      <p:ext uri="{BB962C8B-B14F-4D97-AF65-F5344CB8AC3E}">
        <p14:creationId xmlns:p14="http://schemas.microsoft.com/office/powerpoint/2010/main" val="347261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矩形 20"/>
          <p:cNvSpPr/>
          <p:nvPr/>
        </p:nvSpPr>
        <p:spPr>
          <a:xfrm>
            <a:off x="328618" y="358130"/>
            <a:ext cx="4435111" cy="523208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r>
              <a:rPr lang="zh-CN" altLang="en-US" sz="28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项目现状</a:t>
            </a:r>
            <a:endParaRPr lang="zh-CN" altLang="en-US" sz="2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TextBox 1"/>
          <p:cNvSpPr txBox="1">
            <a:spLocks noChangeArrowheads="1"/>
          </p:cNvSpPr>
          <p:nvPr/>
        </p:nvSpPr>
        <p:spPr bwMode="auto">
          <a:xfrm>
            <a:off x="504968" y="1620223"/>
            <a:ext cx="12119212" cy="969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45714">
            <a:spAutoFit/>
          </a:bodyPr>
          <a:lstStyle>
            <a:lvl1pPr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1pPr>
            <a:lvl2pPr marL="742950" indent="-28575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2pPr>
            <a:lvl3pPr marL="11430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3pPr>
            <a:lvl4pPr marL="16002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4pPr>
            <a:lvl5pPr marL="20574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9pPr>
          </a:lstStyle>
          <a:p>
            <a:pPr defTabSz="483855">
              <a:lnSpc>
                <a:spcPct val="150000"/>
              </a:lnSpc>
            </a:pPr>
            <a:r>
              <a:rPr lang="zh-CN" altLang="en-US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现状场地清平，地块内部亏土，与东侧道路高差</a:t>
            </a:r>
            <a:r>
              <a:rPr lang="en-US" altLang="zh-CN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米。西侧临山，高差</a:t>
            </a:r>
            <a:r>
              <a:rPr lang="en-US" altLang="zh-CN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-200</a:t>
            </a:r>
            <a:r>
              <a:rPr lang="zh-CN" altLang="en-US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米，需考虑山体护坡，</a:t>
            </a:r>
            <a:endParaRPr lang="en-US" altLang="zh-CN" sz="20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483855">
              <a:lnSpc>
                <a:spcPct val="150000"/>
              </a:lnSpc>
            </a:pPr>
            <a:r>
              <a:rPr lang="zh-CN" altLang="en-US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北侧地块外尚有待拆迁民房</a:t>
            </a:r>
            <a:r>
              <a:rPr lang="en-US" altLang="zh-CN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户，东侧临城市主干道路滨河路。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797" y="2589713"/>
            <a:ext cx="11409528" cy="6598852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 rot="327001">
            <a:off x="6679354" y="6117678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规划路</a:t>
            </a:r>
          </a:p>
        </p:txBody>
      </p:sp>
      <p:sp>
        <p:nvSpPr>
          <p:cNvPr id="12" name="文本框 11"/>
          <p:cNvSpPr txBox="1"/>
          <p:nvPr/>
        </p:nvSpPr>
        <p:spPr>
          <a:xfrm rot="1469735">
            <a:off x="5063940" y="7881266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滨河路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11194614" y="7501418"/>
            <a:ext cx="697627" cy="40011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none" rtlCol="0">
            <a:spAutoFit/>
          </a:bodyPr>
          <a:lstStyle/>
          <a:p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民房</a:t>
            </a:r>
          </a:p>
        </p:txBody>
      </p:sp>
      <p:sp>
        <p:nvSpPr>
          <p:cNvPr id="15" name="矩形: 圆角 134">
            <a:extLst>
              <a:ext uri="{FF2B5EF4-FFF2-40B4-BE49-F238E27FC236}">
                <a16:creationId xmlns="" xmlns:a16="http://schemas.microsoft.com/office/drawing/2014/main" id="{60C3F684-019C-4DD0-8A05-86C67604DC62}"/>
              </a:ext>
            </a:extLst>
          </p:cNvPr>
          <p:cNvSpPr/>
          <p:nvPr/>
        </p:nvSpPr>
        <p:spPr>
          <a:xfrm>
            <a:off x="7492622" y="4736970"/>
            <a:ext cx="1924334" cy="408623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规划国际滑雪场</a:t>
            </a:r>
          </a:p>
        </p:txBody>
      </p:sp>
    </p:spTree>
    <p:extLst>
      <p:ext uri="{BB962C8B-B14F-4D97-AF65-F5344CB8AC3E}">
        <p14:creationId xmlns:p14="http://schemas.microsoft.com/office/powerpoint/2010/main" val="4191232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矩形 20"/>
          <p:cNvSpPr/>
          <p:nvPr/>
        </p:nvSpPr>
        <p:spPr>
          <a:xfrm>
            <a:off x="328618" y="358130"/>
            <a:ext cx="4435111" cy="523208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r>
              <a:rPr lang="zh-CN" altLang="en-US" sz="28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项目周边配套</a:t>
            </a:r>
            <a:endParaRPr lang="zh-CN" altLang="en-US" sz="2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TextBox 1"/>
          <p:cNvSpPr txBox="1">
            <a:spLocks noChangeArrowheads="1"/>
          </p:cNvSpPr>
          <p:nvPr/>
        </p:nvSpPr>
        <p:spPr bwMode="auto">
          <a:xfrm>
            <a:off x="378075" y="1660272"/>
            <a:ext cx="12147549" cy="50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45714">
            <a:spAutoFit/>
          </a:bodyPr>
          <a:lstStyle>
            <a:lvl1pPr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1pPr>
            <a:lvl2pPr marL="742950" indent="-28575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2pPr>
            <a:lvl3pPr marL="11430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3pPr>
            <a:lvl4pPr marL="16002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4pPr>
            <a:lvl5pPr marL="20574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承德南站板块区域共享城市配套，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5km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配套完善，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km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内教育、商业配套齐全，地块周边配套设施有待发展。</a:t>
            </a:r>
            <a:endParaRPr lang="en-US" altLang="zh-CN" sz="2000" b="1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11" name="表格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8625030"/>
              </p:ext>
            </p:extLst>
          </p:nvPr>
        </p:nvGraphicFramePr>
        <p:xfrm>
          <a:off x="438941" y="2453381"/>
          <a:ext cx="3445097" cy="64494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367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9941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6308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2891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721202">
                <a:tc>
                  <a:txBody>
                    <a:bodyPr/>
                    <a:lstStyle/>
                    <a:p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编号</a:t>
                      </a:r>
                    </a:p>
                  </a:txBody>
                  <a:tcPr marT="45717" marB="45717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配套内容</a:t>
                      </a:r>
                    </a:p>
                  </a:txBody>
                  <a:tcPr marT="45717" marB="45717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直线距离</a:t>
                      </a:r>
                    </a:p>
                  </a:txBody>
                  <a:tcPr marT="45717" marB="45717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车行距离</a:t>
                      </a:r>
                    </a:p>
                  </a:txBody>
                  <a:tcPr marT="45717" marB="45717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4736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45717" marB="45717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承德南</a:t>
                      </a:r>
                      <a:endParaRPr lang="en-US" altLang="zh-CN" sz="14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algn="ctr"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高铁站</a:t>
                      </a:r>
                    </a:p>
                  </a:txBody>
                  <a:tcPr marT="45717" marB="45717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5km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1432" marR="91432" marT="45735" marB="45735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km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1432" marR="91432" marT="45735" marB="45735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3477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T="45717" marB="45717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承德开发区小学</a:t>
                      </a:r>
                    </a:p>
                  </a:txBody>
                  <a:tcPr marT="45717" marB="45717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latinLnBrk="0" hangingPunct="1"/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5km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1432" marR="91432" marT="45735" marB="45735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latinLnBrk="0" hangingPunct="1"/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8km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1432" marR="91432" marT="45735" marB="45735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80796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</a:txBody>
                  <a:tcPr marT="45717" marB="45717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宽广时代购物广场</a:t>
                      </a:r>
                    </a:p>
                  </a:txBody>
                  <a:tcPr marT="45717" marB="45717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latinLnBrk="0" hangingPunct="1"/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.4km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1432" marR="91432" marT="45735" marB="45735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latinLnBrk="0" hangingPunct="1"/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.5km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1432" marR="91432" marT="45735" marB="45735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01419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</a:p>
                  </a:txBody>
                  <a:tcPr marT="45717" marB="45717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河北民族</a:t>
                      </a:r>
                      <a:endParaRPr lang="en-US" altLang="zh-CN" sz="14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algn="ctr"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师范学院、承德石油学院</a:t>
                      </a:r>
                    </a:p>
                  </a:txBody>
                  <a:tcPr marT="45717" marB="45717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latinLnBrk="0" hangingPunct="1"/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km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1432" marR="91432" marT="45735" marB="45735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latinLnBrk="0" hangingPunct="1"/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.6km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1432" marR="91432" marT="45735" marB="45735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80796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</a:p>
                  </a:txBody>
                  <a:tcPr marT="45717" marB="45717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承德市第一中学</a:t>
                      </a:r>
                    </a:p>
                  </a:txBody>
                  <a:tcPr marT="45717" marB="45717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latinLnBrk="0" hangingPunct="1"/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.3km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1432" marR="91432" marT="45735" marB="45735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latinLnBrk="0" hangingPunct="1"/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km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1432" marR="91432" marT="45735" marB="45735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80796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</a:p>
                  </a:txBody>
                  <a:tcPr marT="45717" marB="45717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承德奥体</a:t>
                      </a:r>
                      <a:endParaRPr lang="en-US" altLang="zh-CN" sz="14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algn="ctr"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中心</a:t>
                      </a:r>
                    </a:p>
                  </a:txBody>
                  <a:tcPr marL="91432" marR="91432" marT="45735" marB="45735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latinLnBrk="0" hangingPunct="1"/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.4m</a:t>
                      </a:r>
                    </a:p>
                  </a:txBody>
                  <a:tcPr marL="91432" marR="91432" marT="45735" marB="45735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latinLnBrk="0" hangingPunct="1"/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.5km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1432" marR="91432" marT="45735" marB="45735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80796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</a:p>
                  </a:txBody>
                  <a:tcPr marT="45717" marB="45717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承德医学院附属医院</a:t>
                      </a:r>
                    </a:p>
                  </a:txBody>
                  <a:tcPr marT="45717" marB="45717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latinLnBrk="0" hangingPunct="1"/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.7km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1432" marR="91432" marT="45735" marB="45735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latinLnBrk="0" hangingPunct="1"/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km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1432" marR="91432" marT="45735" marB="45735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10" name="图片 9">
            <a:extLst>
              <a:ext uri="{FF2B5EF4-FFF2-40B4-BE49-F238E27FC236}">
                <a16:creationId xmlns="" xmlns:a16="http://schemas.microsoft.com/office/drawing/2014/main" id="{AB0769A6-108F-43DF-984A-84F6B4BE26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80316" y="2622026"/>
            <a:ext cx="8418576" cy="6317257"/>
          </a:xfrm>
          <a:prstGeom prst="rect">
            <a:avLst/>
          </a:prstGeom>
        </p:spPr>
      </p:pic>
      <p:sp>
        <p:nvSpPr>
          <p:cNvPr id="12" name="椭圆 11"/>
          <p:cNvSpPr/>
          <p:nvPr/>
        </p:nvSpPr>
        <p:spPr bwMode="auto">
          <a:xfrm>
            <a:off x="6580910" y="4202612"/>
            <a:ext cx="5830894" cy="5792964"/>
          </a:xfrm>
          <a:prstGeom prst="ellipse">
            <a:avLst/>
          </a:prstGeom>
          <a:noFill/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txBody>
          <a:bodyPr vert="horz" wrap="square" lIns="91438" tIns="45719" rIns="91438" bIns="45719" numCol="1" rtlCol="0" anchor="t" anchorCtr="0" compatLnSpc="1"/>
          <a:lstStyle/>
          <a:p>
            <a:pPr algn="r" defTabSz="914620" fontAlgn="base">
              <a:spcBef>
                <a:spcPct val="0"/>
              </a:spcBef>
              <a:spcAft>
                <a:spcPct val="0"/>
              </a:spcAft>
            </a:pPr>
            <a:endParaRPr kumimoji="1" lang="zh-CN" altLang="en-US" sz="1201">
              <a:solidFill>
                <a:srgbClr val="000000"/>
              </a:solidFill>
              <a:latin typeface="Calibri"/>
              <a:ea typeface="等线" panose="02010600030101010101" pitchFamily="2" charset="-122"/>
            </a:endParaRPr>
          </a:p>
        </p:txBody>
      </p:sp>
      <p:sp>
        <p:nvSpPr>
          <p:cNvPr id="13" name="椭圆 12"/>
          <p:cNvSpPr/>
          <p:nvPr/>
        </p:nvSpPr>
        <p:spPr bwMode="auto">
          <a:xfrm>
            <a:off x="7916217" y="5523004"/>
            <a:ext cx="3362992" cy="3341114"/>
          </a:xfrm>
          <a:prstGeom prst="ellipse">
            <a:avLst/>
          </a:prstGeom>
          <a:noFill/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txBody>
          <a:bodyPr vert="horz" wrap="square" lIns="91438" tIns="45719" rIns="91438" bIns="45719" numCol="1" rtlCol="0" anchor="t" anchorCtr="0" compatLnSpc="1"/>
          <a:lstStyle/>
          <a:p>
            <a:pPr algn="r" defTabSz="914620" fontAlgn="base">
              <a:spcBef>
                <a:spcPct val="0"/>
              </a:spcBef>
              <a:spcAft>
                <a:spcPct val="0"/>
              </a:spcAft>
            </a:pPr>
            <a:endParaRPr kumimoji="1" lang="zh-CN" altLang="en-US" sz="1201">
              <a:solidFill>
                <a:srgbClr val="000000"/>
              </a:solidFill>
              <a:latin typeface="Calibri"/>
              <a:ea typeface="等线" panose="02010600030101010101" pitchFamily="2" charset="-122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10529270" y="5859828"/>
            <a:ext cx="817391" cy="2771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620"/>
            <a:r>
              <a:rPr lang="en-US" altLang="zh-CN" sz="1201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KM</a:t>
            </a:r>
            <a:endParaRPr lang="zh-CN" altLang="en-US" sz="1201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1702678" y="5226973"/>
            <a:ext cx="817391" cy="3392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620"/>
            <a:r>
              <a:rPr lang="en-US" altLang="zh-CN" sz="1201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KM</a:t>
            </a:r>
            <a:endParaRPr lang="zh-CN" altLang="en-US" sz="1201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椭圆 15"/>
          <p:cNvSpPr/>
          <p:nvPr/>
        </p:nvSpPr>
        <p:spPr bwMode="auto">
          <a:xfrm>
            <a:off x="5433162" y="3490494"/>
            <a:ext cx="322996" cy="320892"/>
          </a:xfrm>
          <a:prstGeom prst="ellipse">
            <a:avLst/>
          </a:prstGeom>
          <a:solidFill>
            <a:srgbClr val="FC83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38" tIns="45719" rIns="91438" bIns="45719" numCol="1" rtlCol="0" anchor="ctr" anchorCtr="0" compatLnSpc="1"/>
          <a:lstStyle/>
          <a:p>
            <a:pPr algn="ctr" defTabSz="914620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1402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kumimoji="1" lang="zh-CN" altLang="en-US" sz="1402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矩形 16"/>
          <p:cNvSpPr/>
          <p:nvPr/>
        </p:nvSpPr>
        <p:spPr bwMode="auto">
          <a:xfrm>
            <a:off x="10974108" y="7762793"/>
            <a:ext cx="1112367" cy="364384"/>
          </a:xfrm>
          <a:prstGeom prst="rect">
            <a:avLst/>
          </a:prstGeom>
          <a:solidFill>
            <a:srgbClr val="B970E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15" tIns="45707" rIns="91415" bIns="45707" numCol="1" rtlCol="0" anchor="ctr" anchorCtr="0" compatLnSpc="1"/>
          <a:lstStyle/>
          <a:p>
            <a:pPr algn="ctr" defTabSz="914620"/>
            <a:r>
              <a:rPr kumimoji="1" lang="zh-CN" altLang="en-US" sz="1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商业配套</a:t>
            </a:r>
          </a:p>
        </p:txBody>
      </p:sp>
      <p:sp>
        <p:nvSpPr>
          <p:cNvPr id="18" name="矩形 17"/>
          <p:cNvSpPr/>
          <p:nvPr/>
        </p:nvSpPr>
        <p:spPr bwMode="auto">
          <a:xfrm>
            <a:off x="10974108" y="6775722"/>
            <a:ext cx="1086688" cy="364499"/>
          </a:xfrm>
          <a:prstGeom prst="rect">
            <a:avLst/>
          </a:prstGeom>
          <a:solidFill>
            <a:srgbClr val="FF616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15" tIns="45707" rIns="91415" bIns="45707" numCol="1" rtlCol="0" anchor="ctr" anchorCtr="0" compatLnSpc="1"/>
          <a:lstStyle/>
          <a:p>
            <a:pPr algn="ctr" defTabSz="914620"/>
            <a:r>
              <a:rPr kumimoji="1" lang="zh-CN" altLang="en-US" sz="1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疗配套</a:t>
            </a:r>
          </a:p>
        </p:txBody>
      </p:sp>
      <p:sp>
        <p:nvSpPr>
          <p:cNvPr id="19" name="矩形 18"/>
          <p:cNvSpPr/>
          <p:nvPr/>
        </p:nvSpPr>
        <p:spPr bwMode="auto">
          <a:xfrm>
            <a:off x="10967790" y="7269228"/>
            <a:ext cx="1112367" cy="364499"/>
          </a:xfrm>
          <a:prstGeom prst="rect">
            <a:avLst/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15" tIns="45707" rIns="91415" bIns="45707" numCol="1" rtlCol="0" anchor="ctr" anchorCtr="0" compatLnSpc="1"/>
          <a:lstStyle/>
          <a:p>
            <a:pPr algn="ctr" defTabSz="914620"/>
            <a:r>
              <a:rPr kumimoji="1" lang="zh-CN" altLang="en-US" sz="1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育配套</a:t>
            </a:r>
          </a:p>
        </p:txBody>
      </p:sp>
      <p:sp>
        <p:nvSpPr>
          <p:cNvPr id="20" name="矩形 19"/>
          <p:cNvSpPr/>
          <p:nvPr/>
        </p:nvSpPr>
        <p:spPr bwMode="auto">
          <a:xfrm>
            <a:off x="10967794" y="8256243"/>
            <a:ext cx="1112367" cy="364499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15" tIns="45707" rIns="91415" bIns="45707" numCol="1" rtlCol="0" anchor="ctr" anchorCtr="0" compatLnSpc="1"/>
          <a:lstStyle/>
          <a:p>
            <a:pPr algn="ctr" defTabSz="914620"/>
            <a:r>
              <a:rPr kumimoji="1" lang="zh-CN" altLang="en-US" sz="1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其他配套</a:t>
            </a:r>
          </a:p>
        </p:txBody>
      </p:sp>
      <p:sp>
        <p:nvSpPr>
          <p:cNvPr id="22" name="椭圆 21"/>
          <p:cNvSpPr/>
          <p:nvPr/>
        </p:nvSpPr>
        <p:spPr bwMode="auto">
          <a:xfrm>
            <a:off x="8167690" y="4954702"/>
            <a:ext cx="322996" cy="320894"/>
          </a:xfrm>
          <a:prstGeom prst="ellipse">
            <a:avLst/>
          </a:prstGeom>
          <a:solidFill>
            <a:srgbClr val="08A1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38" tIns="45719" rIns="91438" bIns="45719" numCol="1" rtlCol="0" anchor="ctr" anchorCtr="0" compatLnSpc="1"/>
          <a:lstStyle/>
          <a:p>
            <a:pPr algn="ctr" defTabSz="91462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CN" sz="1402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endParaRPr kumimoji="1" lang="zh-CN" altLang="en-US" sz="1402" b="1" kern="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椭圆 22"/>
          <p:cNvSpPr/>
          <p:nvPr/>
        </p:nvSpPr>
        <p:spPr bwMode="auto">
          <a:xfrm>
            <a:off x="8351113" y="5510914"/>
            <a:ext cx="322996" cy="320895"/>
          </a:xfrm>
          <a:prstGeom prst="ellipse">
            <a:avLst/>
          </a:prstGeom>
          <a:solidFill>
            <a:srgbClr val="B970E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38" tIns="45719" rIns="91438" bIns="45719" numCol="1" rtlCol="0" anchor="ctr" anchorCtr="0" compatLnSpc="1"/>
          <a:lstStyle/>
          <a:p>
            <a:pPr algn="ctr" defTabSz="914620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1402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kumimoji="1" lang="zh-CN" altLang="en-US" sz="1402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椭圆 29">
            <a:extLst>
              <a:ext uri="{FF2B5EF4-FFF2-40B4-BE49-F238E27FC236}">
                <a16:creationId xmlns="" xmlns:a16="http://schemas.microsoft.com/office/drawing/2014/main" id="{C76A0AA9-1FCF-43E0-A199-0B6513B32034}"/>
              </a:ext>
            </a:extLst>
          </p:cNvPr>
          <p:cNvSpPr/>
          <p:nvPr/>
        </p:nvSpPr>
        <p:spPr bwMode="auto">
          <a:xfrm>
            <a:off x="8329188" y="5938533"/>
            <a:ext cx="322996" cy="320894"/>
          </a:xfrm>
          <a:prstGeom prst="ellipse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38" tIns="45719" rIns="91438" bIns="45719" numCol="1" rtlCol="0" anchor="ctr" anchorCtr="0" compatLnSpc="1"/>
          <a:lstStyle/>
          <a:p>
            <a:pPr algn="ctr" defTabSz="91462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CN" sz="1402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kumimoji="1" lang="zh-CN" altLang="en-US" sz="1402" b="1" kern="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椭圆 30">
            <a:extLst>
              <a:ext uri="{FF2B5EF4-FFF2-40B4-BE49-F238E27FC236}">
                <a16:creationId xmlns="" xmlns:a16="http://schemas.microsoft.com/office/drawing/2014/main" id="{272A87FC-3BA4-4071-95C6-45E8187F116F}"/>
              </a:ext>
            </a:extLst>
          </p:cNvPr>
          <p:cNvSpPr/>
          <p:nvPr/>
        </p:nvSpPr>
        <p:spPr bwMode="auto">
          <a:xfrm>
            <a:off x="7777894" y="4895260"/>
            <a:ext cx="322996" cy="320894"/>
          </a:xfrm>
          <a:prstGeom prst="ellipse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38" tIns="45719" rIns="91438" bIns="45719" numCol="1" rtlCol="0" anchor="ctr" anchorCtr="0" compatLnSpc="1"/>
          <a:lstStyle/>
          <a:p>
            <a:pPr algn="ctr" defTabSz="91462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CN" sz="1402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endParaRPr kumimoji="1" lang="zh-CN" altLang="en-US" sz="1402" b="1" kern="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椭圆 31">
            <a:extLst>
              <a:ext uri="{FF2B5EF4-FFF2-40B4-BE49-F238E27FC236}">
                <a16:creationId xmlns="" xmlns:a16="http://schemas.microsoft.com/office/drawing/2014/main" id="{02643C73-0239-451E-805D-891BC8BBFAB9}"/>
              </a:ext>
            </a:extLst>
          </p:cNvPr>
          <p:cNvSpPr/>
          <p:nvPr/>
        </p:nvSpPr>
        <p:spPr bwMode="auto">
          <a:xfrm>
            <a:off x="7544766" y="5156473"/>
            <a:ext cx="322996" cy="320894"/>
          </a:xfrm>
          <a:prstGeom prst="ellipse">
            <a:avLst/>
          </a:prstGeom>
          <a:solidFill>
            <a:srgbClr val="08A1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38" tIns="45719" rIns="91438" bIns="45719" numCol="1" rtlCol="0" anchor="ctr" anchorCtr="0" compatLnSpc="1"/>
          <a:lstStyle/>
          <a:p>
            <a:pPr algn="ctr" defTabSz="91462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CN" sz="1402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endParaRPr kumimoji="1" lang="zh-CN" altLang="en-US" sz="1402" b="1" kern="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椭圆 33">
            <a:extLst>
              <a:ext uri="{FF2B5EF4-FFF2-40B4-BE49-F238E27FC236}">
                <a16:creationId xmlns="" xmlns:a16="http://schemas.microsoft.com/office/drawing/2014/main" id="{D421F086-7C2B-40AB-88B3-DA6D7D1C4D17}"/>
              </a:ext>
            </a:extLst>
          </p:cNvPr>
          <p:cNvSpPr/>
          <p:nvPr/>
        </p:nvSpPr>
        <p:spPr bwMode="auto">
          <a:xfrm>
            <a:off x="6742468" y="6290125"/>
            <a:ext cx="322996" cy="320892"/>
          </a:xfrm>
          <a:prstGeom prst="ellipse">
            <a:avLst/>
          </a:prstGeom>
          <a:solidFill>
            <a:srgbClr val="FC83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38" tIns="45719" rIns="91438" bIns="45719" numCol="1" rtlCol="0" anchor="ctr" anchorCtr="0" compatLnSpc="1"/>
          <a:lstStyle/>
          <a:p>
            <a:pPr algn="ctr" defTabSz="914620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1402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endParaRPr kumimoji="1" lang="zh-CN" altLang="en-US" sz="1402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椭圆 34">
            <a:extLst>
              <a:ext uri="{FF2B5EF4-FFF2-40B4-BE49-F238E27FC236}">
                <a16:creationId xmlns="" xmlns:a16="http://schemas.microsoft.com/office/drawing/2014/main" id="{F0E31534-7C3B-4FA8-B124-82C83B8CE7D3}"/>
              </a:ext>
            </a:extLst>
          </p:cNvPr>
          <p:cNvSpPr/>
          <p:nvPr/>
        </p:nvSpPr>
        <p:spPr bwMode="auto">
          <a:xfrm>
            <a:off x="8997198" y="5918196"/>
            <a:ext cx="322996" cy="320895"/>
          </a:xfrm>
          <a:prstGeom prst="ellipse">
            <a:avLst/>
          </a:prstGeom>
          <a:solidFill>
            <a:srgbClr val="2FA6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38" tIns="45719" rIns="91438" bIns="45719" numCol="1" rtlCol="0" anchor="ctr" anchorCtr="0" compatLnSpc="1"/>
          <a:lstStyle/>
          <a:p>
            <a:pPr algn="ctr" defTabSz="914620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1402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kumimoji="1" lang="zh-CN" altLang="en-US" sz="1402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6074398" y="8973044"/>
            <a:ext cx="6727202" cy="145015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37" name="矩形: 圆角 134">
            <a:extLst>
              <a:ext uri="{FF2B5EF4-FFF2-40B4-BE49-F238E27FC236}">
                <a16:creationId xmlns="" xmlns:a16="http://schemas.microsoft.com/office/drawing/2014/main" id="{60C3F684-019C-4DD0-8A05-86C67604DC62}"/>
              </a:ext>
            </a:extLst>
          </p:cNvPr>
          <p:cNvSpPr/>
          <p:nvPr/>
        </p:nvSpPr>
        <p:spPr>
          <a:xfrm>
            <a:off x="9753275" y="7095324"/>
            <a:ext cx="693052" cy="374571"/>
          </a:xfrm>
          <a:prstGeom prst="roundRect">
            <a:avLst/>
          </a:prstGeom>
          <a:solidFill>
            <a:srgbClr val="FFFF66"/>
          </a:solidFill>
          <a:ln>
            <a:solidFill>
              <a:sysClr val="window" lastClr="FFFFFF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本案</a:t>
            </a:r>
          </a:p>
        </p:txBody>
      </p:sp>
    </p:spTree>
    <p:extLst>
      <p:ext uri="{BB962C8B-B14F-4D97-AF65-F5344CB8AC3E}">
        <p14:creationId xmlns:p14="http://schemas.microsoft.com/office/powerpoint/2010/main" val="1358505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矩形 20"/>
          <p:cNvSpPr/>
          <p:nvPr/>
        </p:nvSpPr>
        <p:spPr>
          <a:xfrm>
            <a:off x="328618" y="358130"/>
            <a:ext cx="4435111" cy="523208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r>
              <a:rPr lang="zh-CN" altLang="en-US" sz="28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区域规划</a:t>
            </a:r>
            <a:endParaRPr lang="zh-CN" altLang="en-US" sz="2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TextBox 1"/>
          <p:cNvSpPr txBox="1">
            <a:spLocks noChangeArrowheads="1"/>
          </p:cNvSpPr>
          <p:nvPr/>
        </p:nvSpPr>
        <p:spPr bwMode="auto">
          <a:xfrm>
            <a:off x="550291" y="1328906"/>
            <a:ext cx="11724837" cy="1431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45714">
            <a:spAutoFit/>
          </a:bodyPr>
          <a:lstStyle>
            <a:lvl1pPr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1pPr>
            <a:lvl2pPr marL="742950" indent="-28575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2pPr>
            <a:lvl3pPr marL="11430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3pPr>
            <a:lvl4pPr marL="16002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4pPr>
            <a:lvl5pPr marL="2057400" indent="-228600" defTabSz="1279525" eaLnBrk="0" hangingPunct="0"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9pPr>
          </a:lstStyle>
          <a:p>
            <a:pPr defTabSz="483855">
              <a:lnSpc>
                <a:spcPct val="150000"/>
              </a:lnSpc>
              <a:defRPr/>
            </a:pPr>
            <a:r>
              <a:rPr lang="zh-CN" altLang="en-US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</a:t>
            </a:r>
            <a:r>
              <a:rPr lang="en-US" altLang="zh-CN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5</a:t>
            </a:r>
            <a:r>
              <a:rPr lang="zh-CN" altLang="en-US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提出“政治经济中心移至南区”的战略发展规划，南区城市配套业已发展成熟，成为主城区的重要居住区、经济区。承德中心城区规划人口</a:t>
            </a:r>
            <a:r>
              <a:rPr lang="en-US" altLang="zh-CN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0</a:t>
            </a:r>
            <a:r>
              <a:rPr lang="zh-CN" altLang="en-US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，规划两带六组团，其中南区（经济技术开发区）规划城市建设用地面积</a:t>
            </a:r>
            <a:r>
              <a:rPr lang="en-US" altLang="zh-CN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.36</a:t>
            </a:r>
            <a:r>
              <a:rPr lang="zh-CN" altLang="en-US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方公里，功能以现代服务业为主。本案处于南区发展轴，未来可期。</a:t>
            </a:r>
            <a:endParaRPr lang="zh-CN" altLang="en-US" sz="20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6" name="组合 25"/>
          <p:cNvGrpSpPr/>
          <p:nvPr/>
        </p:nvGrpSpPr>
        <p:grpSpPr>
          <a:xfrm>
            <a:off x="5507000" y="2926091"/>
            <a:ext cx="6329930" cy="6095998"/>
            <a:chOff x="7749674" y="1890077"/>
            <a:chExt cx="4381500" cy="4219575"/>
          </a:xfrm>
        </p:grpSpPr>
        <p:pic>
          <p:nvPicPr>
            <p:cNvPr id="27" name="图片 26">
              <a:extLst>
                <a:ext uri="{FF2B5EF4-FFF2-40B4-BE49-F238E27FC236}">
                  <a16:creationId xmlns="" xmlns:a16="http://schemas.microsoft.com/office/drawing/2014/main" id="{7BC9AA0F-1E3D-4360-A625-37A80085CA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49674" y="1890077"/>
              <a:ext cx="4381500" cy="4219575"/>
            </a:xfrm>
            <a:prstGeom prst="rect">
              <a:avLst/>
            </a:prstGeom>
          </p:spPr>
        </p:pic>
        <p:sp>
          <p:nvSpPr>
            <p:cNvPr id="28" name="任意多边形: 形状 5">
              <a:extLst>
                <a:ext uri="{FF2B5EF4-FFF2-40B4-BE49-F238E27FC236}">
                  <a16:creationId xmlns="" xmlns:a16="http://schemas.microsoft.com/office/drawing/2014/main" id="{8BAF66DF-2E6A-40DE-A47A-EDC29E799026}"/>
                </a:ext>
              </a:extLst>
            </p:cNvPr>
            <p:cNvSpPr/>
            <p:nvPr/>
          </p:nvSpPr>
          <p:spPr>
            <a:xfrm>
              <a:off x="9852168" y="2842632"/>
              <a:ext cx="1580778" cy="3056006"/>
            </a:xfrm>
            <a:custGeom>
              <a:avLst/>
              <a:gdLst>
                <a:gd name="connsiteX0" fmla="*/ 652398 w 1580778"/>
                <a:gd name="connsiteY0" fmla="*/ 0 h 3056006"/>
                <a:gd name="connsiteX1" fmla="*/ 818653 w 1580778"/>
                <a:gd name="connsiteY1" fmla="*/ 69273 h 3056006"/>
                <a:gd name="connsiteX2" fmla="*/ 1026471 w 1580778"/>
                <a:gd name="connsiteY2" fmla="*/ 207818 h 3056006"/>
                <a:gd name="connsiteX3" fmla="*/ 1109598 w 1580778"/>
                <a:gd name="connsiteY3" fmla="*/ 235527 h 3056006"/>
                <a:gd name="connsiteX4" fmla="*/ 1151162 w 1580778"/>
                <a:gd name="connsiteY4" fmla="*/ 471054 h 3056006"/>
                <a:gd name="connsiteX5" fmla="*/ 1192726 w 1580778"/>
                <a:gd name="connsiteY5" fmla="*/ 484909 h 3056006"/>
                <a:gd name="connsiteX6" fmla="*/ 1261998 w 1580778"/>
                <a:gd name="connsiteY6" fmla="*/ 720436 h 3056006"/>
                <a:gd name="connsiteX7" fmla="*/ 1220435 w 1580778"/>
                <a:gd name="connsiteY7" fmla="*/ 762000 h 3056006"/>
                <a:gd name="connsiteX8" fmla="*/ 1178871 w 1580778"/>
                <a:gd name="connsiteY8" fmla="*/ 845127 h 3056006"/>
                <a:gd name="connsiteX9" fmla="*/ 1081889 w 1580778"/>
                <a:gd name="connsiteY9" fmla="*/ 914400 h 3056006"/>
                <a:gd name="connsiteX10" fmla="*/ 1040326 w 1580778"/>
                <a:gd name="connsiteY10" fmla="*/ 928254 h 3056006"/>
                <a:gd name="connsiteX11" fmla="*/ 1026471 w 1580778"/>
                <a:gd name="connsiteY11" fmla="*/ 969818 h 3056006"/>
                <a:gd name="connsiteX12" fmla="*/ 1068035 w 1580778"/>
                <a:gd name="connsiteY12" fmla="*/ 1094509 h 3056006"/>
                <a:gd name="connsiteX13" fmla="*/ 1165017 w 1580778"/>
                <a:gd name="connsiteY13" fmla="*/ 1205345 h 3056006"/>
                <a:gd name="connsiteX14" fmla="*/ 1192726 w 1580778"/>
                <a:gd name="connsiteY14" fmla="*/ 1260764 h 3056006"/>
                <a:gd name="connsiteX15" fmla="*/ 1234289 w 1580778"/>
                <a:gd name="connsiteY15" fmla="*/ 1302327 h 3056006"/>
                <a:gd name="connsiteX16" fmla="*/ 1248144 w 1580778"/>
                <a:gd name="connsiteY16" fmla="*/ 1343891 h 3056006"/>
                <a:gd name="connsiteX17" fmla="*/ 1289707 w 1580778"/>
                <a:gd name="connsiteY17" fmla="*/ 1371600 h 3056006"/>
                <a:gd name="connsiteX18" fmla="*/ 1317417 w 1580778"/>
                <a:gd name="connsiteY18" fmla="*/ 1399309 h 3056006"/>
                <a:gd name="connsiteX19" fmla="*/ 1331271 w 1580778"/>
                <a:gd name="connsiteY19" fmla="*/ 1440873 h 3056006"/>
                <a:gd name="connsiteX20" fmla="*/ 1289707 w 1580778"/>
                <a:gd name="connsiteY20" fmla="*/ 1607127 h 3056006"/>
                <a:gd name="connsiteX21" fmla="*/ 1234289 w 1580778"/>
                <a:gd name="connsiteY21" fmla="*/ 1662545 h 3056006"/>
                <a:gd name="connsiteX22" fmla="*/ 1220435 w 1580778"/>
                <a:gd name="connsiteY22" fmla="*/ 1717964 h 3056006"/>
                <a:gd name="connsiteX23" fmla="*/ 1220435 w 1580778"/>
                <a:gd name="connsiteY23" fmla="*/ 1801091 h 3056006"/>
                <a:gd name="connsiteX24" fmla="*/ 1261998 w 1580778"/>
                <a:gd name="connsiteY24" fmla="*/ 1814945 h 3056006"/>
                <a:gd name="connsiteX25" fmla="*/ 1303562 w 1580778"/>
                <a:gd name="connsiteY25" fmla="*/ 1842654 h 3056006"/>
                <a:gd name="connsiteX26" fmla="*/ 1345126 w 1580778"/>
                <a:gd name="connsiteY26" fmla="*/ 1856509 h 3056006"/>
                <a:gd name="connsiteX27" fmla="*/ 1345126 w 1580778"/>
                <a:gd name="connsiteY27" fmla="*/ 1842654 h 3056006"/>
                <a:gd name="connsiteX28" fmla="*/ 1358980 w 1580778"/>
                <a:gd name="connsiteY28" fmla="*/ 1967345 h 3056006"/>
                <a:gd name="connsiteX29" fmla="*/ 1372835 w 1580778"/>
                <a:gd name="connsiteY29" fmla="*/ 2008909 h 3056006"/>
                <a:gd name="connsiteX30" fmla="*/ 1386689 w 1580778"/>
                <a:gd name="connsiteY30" fmla="*/ 2092036 h 3056006"/>
                <a:gd name="connsiteX31" fmla="*/ 1428253 w 1580778"/>
                <a:gd name="connsiteY31" fmla="*/ 2119745 h 3056006"/>
                <a:gd name="connsiteX32" fmla="*/ 1483671 w 1580778"/>
                <a:gd name="connsiteY32" fmla="*/ 2133600 h 3056006"/>
                <a:gd name="connsiteX33" fmla="*/ 1525235 w 1580778"/>
                <a:gd name="connsiteY33" fmla="*/ 2147454 h 3056006"/>
                <a:gd name="connsiteX34" fmla="*/ 1580653 w 1580778"/>
                <a:gd name="connsiteY34" fmla="*/ 2216727 h 3056006"/>
                <a:gd name="connsiteX35" fmla="*/ 1539089 w 1580778"/>
                <a:gd name="connsiteY35" fmla="*/ 2244436 h 3056006"/>
                <a:gd name="connsiteX36" fmla="*/ 1497526 w 1580778"/>
                <a:gd name="connsiteY36" fmla="*/ 2327564 h 3056006"/>
                <a:gd name="connsiteX37" fmla="*/ 1483671 w 1580778"/>
                <a:gd name="connsiteY37" fmla="*/ 2424545 h 3056006"/>
                <a:gd name="connsiteX38" fmla="*/ 1442107 w 1580778"/>
                <a:gd name="connsiteY38" fmla="*/ 2466109 h 3056006"/>
                <a:gd name="connsiteX39" fmla="*/ 1414398 w 1580778"/>
                <a:gd name="connsiteY39" fmla="*/ 2549236 h 3056006"/>
                <a:gd name="connsiteX40" fmla="*/ 1386689 w 1580778"/>
                <a:gd name="connsiteY40" fmla="*/ 2701636 h 3056006"/>
                <a:gd name="connsiteX41" fmla="*/ 1358980 w 1580778"/>
                <a:gd name="connsiteY41" fmla="*/ 2743200 h 3056006"/>
                <a:gd name="connsiteX42" fmla="*/ 1317417 w 1580778"/>
                <a:gd name="connsiteY42" fmla="*/ 2757054 h 3056006"/>
                <a:gd name="connsiteX43" fmla="*/ 1289707 w 1580778"/>
                <a:gd name="connsiteY43" fmla="*/ 2854036 h 3056006"/>
                <a:gd name="connsiteX44" fmla="*/ 1275853 w 1580778"/>
                <a:gd name="connsiteY44" fmla="*/ 2895600 h 3056006"/>
                <a:gd name="connsiteX45" fmla="*/ 1234289 w 1580778"/>
                <a:gd name="connsiteY45" fmla="*/ 2923309 h 3056006"/>
                <a:gd name="connsiteX46" fmla="*/ 1165017 w 1580778"/>
                <a:gd name="connsiteY46" fmla="*/ 2937164 h 3056006"/>
                <a:gd name="connsiteX47" fmla="*/ 1095744 w 1580778"/>
                <a:gd name="connsiteY47" fmla="*/ 2978727 h 3056006"/>
                <a:gd name="connsiteX48" fmla="*/ 984907 w 1580778"/>
                <a:gd name="connsiteY48" fmla="*/ 3034145 h 3056006"/>
                <a:gd name="connsiteX49" fmla="*/ 874071 w 1580778"/>
                <a:gd name="connsiteY49" fmla="*/ 3048000 h 3056006"/>
                <a:gd name="connsiteX50" fmla="*/ 721671 w 1580778"/>
                <a:gd name="connsiteY50" fmla="*/ 3034145 h 3056006"/>
                <a:gd name="connsiteX51" fmla="*/ 319889 w 1580778"/>
                <a:gd name="connsiteY51" fmla="*/ 3020291 h 3056006"/>
                <a:gd name="connsiteX52" fmla="*/ 333744 w 1580778"/>
                <a:gd name="connsiteY52" fmla="*/ 2770909 h 3056006"/>
                <a:gd name="connsiteX53" fmla="*/ 375307 w 1580778"/>
                <a:gd name="connsiteY53" fmla="*/ 2673927 h 3056006"/>
                <a:gd name="connsiteX54" fmla="*/ 389162 w 1580778"/>
                <a:gd name="connsiteY54" fmla="*/ 2576945 h 3056006"/>
                <a:gd name="connsiteX55" fmla="*/ 430726 w 1580778"/>
                <a:gd name="connsiteY55" fmla="*/ 2452254 h 3056006"/>
                <a:gd name="connsiteX56" fmla="*/ 416871 w 1580778"/>
                <a:gd name="connsiteY56" fmla="*/ 2313709 h 3056006"/>
                <a:gd name="connsiteX57" fmla="*/ 375307 w 1580778"/>
                <a:gd name="connsiteY57" fmla="*/ 2286000 h 3056006"/>
                <a:gd name="connsiteX58" fmla="*/ 125926 w 1580778"/>
                <a:gd name="connsiteY58" fmla="*/ 2272145 h 3056006"/>
                <a:gd name="connsiteX59" fmla="*/ 84362 w 1580778"/>
                <a:gd name="connsiteY59" fmla="*/ 2244436 h 3056006"/>
                <a:gd name="connsiteX60" fmla="*/ 42798 w 1580778"/>
                <a:gd name="connsiteY60" fmla="*/ 2161309 h 3056006"/>
                <a:gd name="connsiteX61" fmla="*/ 15089 w 1580778"/>
                <a:gd name="connsiteY61" fmla="*/ 2119745 h 3056006"/>
                <a:gd name="connsiteX62" fmla="*/ 1235 w 1580778"/>
                <a:gd name="connsiteY62" fmla="*/ 2078182 h 3056006"/>
                <a:gd name="connsiteX63" fmla="*/ 42798 w 1580778"/>
                <a:gd name="connsiteY63" fmla="*/ 1870364 h 3056006"/>
                <a:gd name="connsiteX64" fmla="*/ 70507 w 1580778"/>
                <a:gd name="connsiteY64" fmla="*/ 1842654 h 3056006"/>
                <a:gd name="connsiteX65" fmla="*/ 236762 w 1580778"/>
                <a:gd name="connsiteY65" fmla="*/ 1828800 h 3056006"/>
                <a:gd name="connsiteX66" fmla="*/ 278326 w 1580778"/>
                <a:gd name="connsiteY66" fmla="*/ 1801091 h 3056006"/>
                <a:gd name="connsiteX67" fmla="*/ 333744 w 1580778"/>
                <a:gd name="connsiteY67" fmla="*/ 1773382 h 3056006"/>
                <a:gd name="connsiteX68" fmla="*/ 333744 w 1580778"/>
                <a:gd name="connsiteY68" fmla="*/ 1773382 h 3056006"/>
                <a:gd name="connsiteX69" fmla="*/ 319889 w 1580778"/>
                <a:gd name="connsiteY69" fmla="*/ 1648691 h 3056006"/>
                <a:gd name="connsiteX70" fmla="*/ 319889 w 1580778"/>
                <a:gd name="connsiteY70" fmla="*/ 1551709 h 3056006"/>
                <a:gd name="connsiteX71" fmla="*/ 250617 w 1580778"/>
                <a:gd name="connsiteY71" fmla="*/ 1468582 h 3056006"/>
                <a:gd name="connsiteX72" fmla="*/ 236762 w 1580778"/>
                <a:gd name="connsiteY72" fmla="*/ 1427018 h 3056006"/>
                <a:gd name="connsiteX73" fmla="*/ 181344 w 1580778"/>
                <a:gd name="connsiteY73" fmla="*/ 1343891 h 3056006"/>
                <a:gd name="connsiteX74" fmla="*/ 153635 w 1580778"/>
                <a:gd name="connsiteY74" fmla="*/ 1260764 h 3056006"/>
                <a:gd name="connsiteX75" fmla="*/ 139780 w 1580778"/>
                <a:gd name="connsiteY75" fmla="*/ 1219200 h 3056006"/>
                <a:gd name="connsiteX76" fmla="*/ 112071 w 1580778"/>
                <a:gd name="connsiteY76" fmla="*/ 1066800 h 3056006"/>
                <a:gd name="connsiteX77" fmla="*/ 98217 w 1580778"/>
                <a:gd name="connsiteY77" fmla="*/ 1025236 h 3056006"/>
                <a:gd name="connsiteX78" fmla="*/ 84362 w 1580778"/>
                <a:gd name="connsiteY78" fmla="*/ 955964 h 3056006"/>
                <a:gd name="connsiteX79" fmla="*/ 112071 w 1580778"/>
                <a:gd name="connsiteY79" fmla="*/ 845127 h 3056006"/>
                <a:gd name="connsiteX80" fmla="*/ 70507 w 1580778"/>
                <a:gd name="connsiteY80" fmla="*/ 678873 h 3056006"/>
                <a:gd name="connsiteX81" fmla="*/ 42798 w 1580778"/>
                <a:gd name="connsiteY81" fmla="*/ 637309 h 3056006"/>
                <a:gd name="connsiteX82" fmla="*/ 42798 w 1580778"/>
                <a:gd name="connsiteY82" fmla="*/ 415636 h 3056006"/>
                <a:gd name="connsiteX83" fmla="*/ 84362 w 1580778"/>
                <a:gd name="connsiteY83" fmla="*/ 387927 h 3056006"/>
                <a:gd name="connsiteX84" fmla="*/ 98217 w 1580778"/>
                <a:gd name="connsiteY84" fmla="*/ 360218 h 3056006"/>
                <a:gd name="connsiteX85" fmla="*/ 596980 w 1580778"/>
                <a:gd name="connsiteY85" fmla="*/ 332509 h 3056006"/>
                <a:gd name="connsiteX86" fmla="*/ 499998 w 1580778"/>
                <a:gd name="connsiteY86" fmla="*/ 96982 h 3056006"/>
                <a:gd name="connsiteX87" fmla="*/ 652398 w 1580778"/>
                <a:gd name="connsiteY87" fmla="*/ 0 h 305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1580778" h="3056006">
                  <a:moveTo>
                    <a:pt x="652398" y="0"/>
                  </a:moveTo>
                  <a:lnTo>
                    <a:pt x="818653" y="69273"/>
                  </a:lnTo>
                  <a:cubicBezTo>
                    <a:pt x="952010" y="175958"/>
                    <a:pt x="912635" y="166423"/>
                    <a:pt x="1026471" y="207818"/>
                  </a:cubicBezTo>
                  <a:cubicBezTo>
                    <a:pt x="1053920" y="217800"/>
                    <a:pt x="1109598" y="235527"/>
                    <a:pt x="1109598" y="235527"/>
                  </a:cubicBezTo>
                  <a:cubicBezTo>
                    <a:pt x="1111762" y="263659"/>
                    <a:pt x="1101078" y="420970"/>
                    <a:pt x="1151162" y="471054"/>
                  </a:cubicBezTo>
                  <a:cubicBezTo>
                    <a:pt x="1161489" y="481381"/>
                    <a:pt x="1178871" y="480291"/>
                    <a:pt x="1192726" y="484909"/>
                  </a:cubicBezTo>
                  <a:cubicBezTo>
                    <a:pt x="1289641" y="581824"/>
                    <a:pt x="1308404" y="558014"/>
                    <a:pt x="1261998" y="720436"/>
                  </a:cubicBezTo>
                  <a:cubicBezTo>
                    <a:pt x="1256615" y="739275"/>
                    <a:pt x="1234289" y="748145"/>
                    <a:pt x="1220435" y="762000"/>
                  </a:cubicBezTo>
                  <a:cubicBezTo>
                    <a:pt x="1209166" y="795805"/>
                    <a:pt x="1205728" y="818270"/>
                    <a:pt x="1178871" y="845127"/>
                  </a:cubicBezTo>
                  <a:cubicBezTo>
                    <a:pt x="1172593" y="851405"/>
                    <a:pt x="1097624" y="906532"/>
                    <a:pt x="1081889" y="914400"/>
                  </a:cubicBezTo>
                  <a:cubicBezTo>
                    <a:pt x="1068827" y="920931"/>
                    <a:pt x="1054180" y="923636"/>
                    <a:pt x="1040326" y="928254"/>
                  </a:cubicBezTo>
                  <a:cubicBezTo>
                    <a:pt x="1035708" y="942109"/>
                    <a:pt x="1026471" y="955214"/>
                    <a:pt x="1026471" y="969818"/>
                  </a:cubicBezTo>
                  <a:cubicBezTo>
                    <a:pt x="1026471" y="1014967"/>
                    <a:pt x="1045499" y="1056949"/>
                    <a:pt x="1068035" y="1094509"/>
                  </a:cubicBezTo>
                  <a:cubicBezTo>
                    <a:pt x="1121914" y="1184307"/>
                    <a:pt x="1101132" y="1162755"/>
                    <a:pt x="1165017" y="1205345"/>
                  </a:cubicBezTo>
                  <a:cubicBezTo>
                    <a:pt x="1174253" y="1223818"/>
                    <a:pt x="1180722" y="1243958"/>
                    <a:pt x="1192726" y="1260764"/>
                  </a:cubicBezTo>
                  <a:cubicBezTo>
                    <a:pt x="1204114" y="1276708"/>
                    <a:pt x="1223421" y="1286025"/>
                    <a:pt x="1234289" y="1302327"/>
                  </a:cubicBezTo>
                  <a:cubicBezTo>
                    <a:pt x="1242390" y="1314478"/>
                    <a:pt x="1239021" y="1332487"/>
                    <a:pt x="1248144" y="1343891"/>
                  </a:cubicBezTo>
                  <a:cubicBezTo>
                    <a:pt x="1258546" y="1356893"/>
                    <a:pt x="1276705" y="1361198"/>
                    <a:pt x="1289707" y="1371600"/>
                  </a:cubicBezTo>
                  <a:cubicBezTo>
                    <a:pt x="1299907" y="1379760"/>
                    <a:pt x="1308180" y="1390073"/>
                    <a:pt x="1317417" y="1399309"/>
                  </a:cubicBezTo>
                  <a:cubicBezTo>
                    <a:pt x="1322035" y="1413164"/>
                    <a:pt x="1331271" y="1426269"/>
                    <a:pt x="1331271" y="1440873"/>
                  </a:cubicBezTo>
                  <a:cubicBezTo>
                    <a:pt x="1331271" y="1497005"/>
                    <a:pt x="1324963" y="1560120"/>
                    <a:pt x="1289707" y="1607127"/>
                  </a:cubicBezTo>
                  <a:cubicBezTo>
                    <a:pt x="1274032" y="1628026"/>
                    <a:pt x="1252762" y="1644072"/>
                    <a:pt x="1234289" y="1662545"/>
                  </a:cubicBezTo>
                  <a:cubicBezTo>
                    <a:pt x="1229671" y="1681018"/>
                    <a:pt x="1225666" y="1699655"/>
                    <a:pt x="1220435" y="1717964"/>
                  </a:cubicBezTo>
                  <a:cubicBezTo>
                    <a:pt x="1212225" y="1746700"/>
                    <a:pt x="1191698" y="1772354"/>
                    <a:pt x="1220435" y="1801091"/>
                  </a:cubicBezTo>
                  <a:cubicBezTo>
                    <a:pt x="1230761" y="1811417"/>
                    <a:pt x="1248144" y="1810327"/>
                    <a:pt x="1261998" y="1814945"/>
                  </a:cubicBezTo>
                  <a:cubicBezTo>
                    <a:pt x="1275853" y="1824181"/>
                    <a:pt x="1288669" y="1835207"/>
                    <a:pt x="1303562" y="1842654"/>
                  </a:cubicBezTo>
                  <a:cubicBezTo>
                    <a:pt x="1316624" y="1849185"/>
                    <a:pt x="1345126" y="1856509"/>
                    <a:pt x="1345126" y="1856509"/>
                  </a:cubicBezTo>
                  <a:lnTo>
                    <a:pt x="1345126" y="1842654"/>
                  </a:lnTo>
                  <a:cubicBezTo>
                    <a:pt x="1349744" y="1884218"/>
                    <a:pt x="1352105" y="1926095"/>
                    <a:pt x="1358980" y="1967345"/>
                  </a:cubicBezTo>
                  <a:cubicBezTo>
                    <a:pt x="1361381" y="1981750"/>
                    <a:pt x="1369667" y="1994653"/>
                    <a:pt x="1372835" y="2008909"/>
                  </a:cubicBezTo>
                  <a:cubicBezTo>
                    <a:pt x="1378929" y="2036331"/>
                    <a:pt x="1374126" y="2066910"/>
                    <a:pt x="1386689" y="2092036"/>
                  </a:cubicBezTo>
                  <a:cubicBezTo>
                    <a:pt x="1394136" y="2106929"/>
                    <a:pt x="1412948" y="2113186"/>
                    <a:pt x="1428253" y="2119745"/>
                  </a:cubicBezTo>
                  <a:cubicBezTo>
                    <a:pt x="1445755" y="2127246"/>
                    <a:pt x="1465362" y="2128369"/>
                    <a:pt x="1483671" y="2133600"/>
                  </a:cubicBezTo>
                  <a:cubicBezTo>
                    <a:pt x="1497713" y="2137612"/>
                    <a:pt x="1511380" y="2142836"/>
                    <a:pt x="1525235" y="2147454"/>
                  </a:cubicBezTo>
                  <a:cubicBezTo>
                    <a:pt x="1535011" y="2157231"/>
                    <a:pt x="1583566" y="2202164"/>
                    <a:pt x="1580653" y="2216727"/>
                  </a:cubicBezTo>
                  <a:cubicBezTo>
                    <a:pt x="1577387" y="2233055"/>
                    <a:pt x="1552944" y="2235200"/>
                    <a:pt x="1539089" y="2244436"/>
                  </a:cubicBezTo>
                  <a:cubicBezTo>
                    <a:pt x="1515735" y="2279467"/>
                    <a:pt x="1505721" y="2286590"/>
                    <a:pt x="1497526" y="2327564"/>
                  </a:cubicBezTo>
                  <a:cubicBezTo>
                    <a:pt x="1491122" y="2359585"/>
                    <a:pt x="1495799" y="2394225"/>
                    <a:pt x="1483671" y="2424545"/>
                  </a:cubicBezTo>
                  <a:cubicBezTo>
                    <a:pt x="1476394" y="2442737"/>
                    <a:pt x="1455962" y="2452254"/>
                    <a:pt x="1442107" y="2466109"/>
                  </a:cubicBezTo>
                  <a:cubicBezTo>
                    <a:pt x="1432871" y="2493818"/>
                    <a:pt x="1418021" y="2520254"/>
                    <a:pt x="1414398" y="2549236"/>
                  </a:cubicBezTo>
                  <a:cubicBezTo>
                    <a:pt x="1409621" y="2587451"/>
                    <a:pt x="1408048" y="2658919"/>
                    <a:pt x="1386689" y="2701636"/>
                  </a:cubicBezTo>
                  <a:cubicBezTo>
                    <a:pt x="1379242" y="2716529"/>
                    <a:pt x="1371982" y="2732798"/>
                    <a:pt x="1358980" y="2743200"/>
                  </a:cubicBezTo>
                  <a:cubicBezTo>
                    <a:pt x="1347576" y="2752323"/>
                    <a:pt x="1331271" y="2752436"/>
                    <a:pt x="1317417" y="2757054"/>
                  </a:cubicBezTo>
                  <a:cubicBezTo>
                    <a:pt x="1308180" y="2789381"/>
                    <a:pt x="1299368" y="2821833"/>
                    <a:pt x="1289707" y="2854036"/>
                  </a:cubicBezTo>
                  <a:cubicBezTo>
                    <a:pt x="1285511" y="2868024"/>
                    <a:pt x="1284976" y="2884196"/>
                    <a:pt x="1275853" y="2895600"/>
                  </a:cubicBezTo>
                  <a:cubicBezTo>
                    <a:pt x="1265451" y="2908602"/>
                    <a:pt x="1249880" y="2917462"/>
                    <a:pt x="1234289" y="2923309"/>
                  </a:cubicBezTo>
                  <a:cubicBezTo>
                    <a:pt x="1212240" y="2931577"/>
                    <a:pt x="1188108" y="2932546"/>
                    <a:pt x="1165017" y="2937164"/>
                  </a:cubicBezTo>
                  <a:cubicBezTo>
                    <a:pt x="1110892" y="2991287"/>
                    <a:pt x="1167685" y="2942757"/>
                    <a:pt x="1095744" y="2978727"/>
                  </a:cubicBezTo>
                  <a:cubicBezTo>
                    <a:pt x="1030606" y="3011295"/>
                    <a:pt x="1073943" y="3013598"/>
                    <a:pt x="984907" y="3034145"/>
                  </a:cubicBezTo>
                  <a:cubicBezTo>
                    <a:pt x="948628" y="3042517"/>
                    <a:pt x="911016" y="3043382"/>
                    <a:pt x="874071" y="3048000"/>
                  </a:cubicBezTo>
                  <a:cubicBezTo>
                    <a:pt x="823271" y="3043382"/>
                    <a:pt x="772617" y="3036692"/>
                    <a:pt x="721671" y="3034145"/>
                  </a:cubicBezTo>
                  <a:cubicBezTo>
                    <a:pt x="587831" y="3027453"/>
                    <a:pt x="430777" y="3095536"/>
                    <a:pt x="319889" y="3020291"/>
                  </a:cubicBezTo>
                  <a:cubicBezTo>
                    <a:pt x="250997" y="2973543"/>
                    <a:pt x="326206" y="2853823"/>
                    <a:pt x="333744" y="2770909"/>
                  </a:cubicBezTo>
                  <a:cubicBezTo>
                    <a:pt x="338453" y="2719113"/>
                    <a:pt x="348565" y="2714041"/>
                    <a:pt x="375307" y="2673927"/>
                  </a:cubicBezTo>
                  <a:cubicBezTo>
                    <a:pt x="379925" y="2641600"/>
                    <a:pt x="381242" y="2608626"/>
                    <a:pt x="389162" y="2576945"/>
                  </a:cubicBezTo>
                  <a:cubicBezTo>
                    <a:pt x="399788" y="2534441"/>
                    <a:pt x="430726" y="2452254"/>
                    <a:pt x="430726" y="2452254"/>
                  </a:cubicBezTo>
                  <a:cubicBezTo>
                    <a:pt x="426108" y="2406072"/>
                    <a:pt x="431548" y="2357739"/>
                    <a:pt x="416871" y="2313709"/>
                  </a:cubicBezTo>
                  <a:cubicBezTo>
                    <a:pt x="411605" y="2297912"/>
                    <a:pt x="391791" y="2288355"/>
                    <a:pt x="375307" y="2286000"/>
                  </a:cubicBezTo>
                  <a:cubicBezTo>
                    <a:pt x="292889" y="2274226"/>
                    <a:pt x="209053" y="2276763"/>
                    <a:pt x="125926" y="2272145"/>
                  </a:cubicBezTo>
                  <a:cubicBezTo>
                    <a:pt x="112071" y="2262909"/>
                    <a:pt x="96136" y="2256210"/>
                    <a:pt x="84362" y="2244436"/>
                  </a:cubicBezTo>
                  <a:cubicBezTo>
                    <a:pt x="44658" y="2204733"/>
                    <a:pt x="65334" y="2206381"/>
                    <a:pt x="42798" y="2161309"/>
                  </a:cubicBezTo>
                  <a:cubicBezTo>
                    <a:pt x="35351" y="2146416"/>
                    <a:pt x="24325" y="2133600"/>
                    <a:pt x="15089" y="2119745"/>
                  </a:cubicBezTo>
                  <a:cubicBezTo>
                    <a:pt x="10471" y="2105891"/>
                    <a:pt x="1235" y="2092786"/>
                    <a:pt x="1235" y="2078182"/>
                  </a:cubicBezTo>
                  <a:cubicBezTo>
                    <a:pt x="1235" y="1963266"/>
                    <a:pt x="-11196" y="1937857"/>
                    <a:pt x="42798" y="1870364"/>
                  </a:cubicBezTo>
                  <a:cubicBezTo>
                    <a:pt x="50958" y="1860164"/>
                    <a:pt x="57735" y="1845391"/>
                    <a:pt x="70507" y="1842654"/>
                  </a:cubicBezTo>
                  <a:cubicBezTo>
                    <a:pt x="124883" y="1831002"/>
                    <a:pt x="181344" y="1833418"/>
                    <a:pt x="236762" y="1828800"/>
                  </a:cubicBezTo>
                  <a:cubicBezTo>
                    <a:pt x="250617" y="1819564"/>
                    <a:pt x="263433" y="1808538"/>
                    <a:pt x="278326" y="1801091"/>
                  </a:cubicBezTo>
                  <a:cubicBezTo>
                    <a:pt x="342006" y="1769251"/>
                    <a:pt x="302442" y="1804682"/>
                    <a:pt x="333744" y="1773382"/>
                  </a:cubicBezTo>
                  <a:lnTo>
                    <a:pt x="333744" y="1773382"/>
                  </a:lnTo>
                  <a:cubicBezTo>
                    <a:pt x="329126" y="1731818"/>
                    <a:pt x="319889" y="1690510"/>
                    <a:pt x="319889" y="1648691"/>
                  </a:cubicBezTo>
                  <a:cubicBezTo>
                    <a:pt x="319889" y="1564922"/>
                    <a:pt x="363202" y="1652771"/>
                    <a:pt x="319889" y="1551709"/>
                  </a:cubicBezTo>
                  <a:cubicBezTo>
                    <a:pt x="305422" y="1517953"/>
                    <a:pt x="275585" y="1493550"/>
                    <a:pt x="250617" y="1468582"/>
                  </a:cubicBezTo>
                  <a:cubicBezTo>
                    <a:pt x="245999" y="1454727"/>
                    <a:pt x="243854" y="1439784"/>
                    <a:pt x="236762" y="1427018"/>
                  </a:cubicBezTo>
                  <a:cubicBezTo>
                    <a:pt x="220589" y="1397907"/>
                    <a:pt x="191875" y="1375484"/>
                    <a:pt x="181344" y="1343891"/>
                  </a:cubicBezTo>
                  <a:lnTo>
                    <a:pt x="153635" y="1260764"/>
                  </a:lnTo>
                  <a:lnTo>
                    <a:pt x="139780" y="1219200"/>
                  </a:lnTo>
                  <a:cubicBezTo>
                    <a:pt x="133602" y="1182129"/>
                    <a:pt x="121756" y="1105539"/>
                    <a:pt x="112071" y="1066800"/>
                  </a:cubicBezTo>
                  <a:cubicBezTo>
                    <a:pt x="108529" y="1052632"/>
                    <a:pt x="101759" y="1039404"/>
                    <a:pt x="98217" y="1025236"/>
                  </a:cubicBezTo>
                  <a:cubicBezTo>
                    <a:pt x="92506" y="1002391"/>
                    <a:pt x="88980" y="979055"/>
                    <a:pt x="84362" y="955964"/>
                  </a:cubicBezTo>
                  <a:cubicBezTo>
                    <a:pt x="95296" y="923164"/>
                    <a:pt x="112071" y="878568"/>
                    <a:pt x="112071" y="845127"/>
                  </a:cubicBezTo>
                  <a:cubicBezTo>
                    <a:pt x="112071" y="813960"/>
                    <a:pt x="87703" y="704668"/>
                    <a:pt x="70507" y="678873"/>
                  </a:cubicBezTo>
                  <a:lnTo>
                    <a:pt x="42798" y="637309"/>
                  </a:lnTo>
                  <a:cubicBezTo>
                    <a:pt x="14881" y="553553"/>
                    <a:pt x="7303" y="548741"/>
                    <a:pt x="42798" y="415636"/>
                  </a:cubicBezTo>
                  <a:cubicBezTo>
                    <a:pt x="47088" y="399547"/>
                    <a:pt x="72588" y="399701"/>
                    <a:pt x="84362" y="387927"/>
                  </a:cubicBezTo>
                  <a:cubicBezTo>
                    <a:pt x="91664" y="380625"/>
                    <a:pt x="93599" y="369454"/>
                    <a:pt x="98217" y="360218"/>
                  </a:cubicBezTo>
                  <a:lnTo>
                    <a:pt x="596980" y="332509"/>
                  </a:lnTo>
                  <a:lnTo>
                    <a:pt x="499998" y="96982"/>
                  </a:lnTo>
                  <a:lnTo>
                    <a:pt x="652398" y="0"/>
                  </a:lnTo>
                  <a:close/>
                </a:path>
              </a:pathLst>
            </a:custGeom>
            <a:solidFill>
              <a:srgbClr val="FF0000">
                <a:alpha val="20000"/>
              </a:srgbClr>
            </a:solidFill>
            <a:ln>
              <a:solidFill>
                <a:srgbClr val="FF0000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" name="椭圆 28">
              <a:extLst>
                <a:ext uri="{FF2B5EF4-FFF2-40B4-BE49-F238E27FC236}">
                  <a16:creationId xmlns="" xmlns:a16="http://schemas.microsoft.com/office/drawing/2014/main" id="{D8054E47-5E57-49CD-B228-18EA65E67DDD}"/>
                </a:ext>
              </a:extLst>
            </p:cNvPr>
            <p:cNvSpPr/>
            <p:nvPr/>
          </p:nvSpPr>
          <p:spPr>
            <a:xfrm>
              <a:off x="10471107" y="3191607"/>
              <a:ext cx="342900" cy="342900"/>
            </a:xfrm>
            <a:prstGeom prst="ellipse">
              <a:avLst/>
            </a:prstGeom>
            <a:ln>
              <a:solidFill>
                <a:sysClr val="window" lastClr="FFFFFF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" name="椭圆 29">
              <a:extLst>
                <a:ext uri="{FF2B5EF4-FFF2-40B4-BE49-F238E27FC236}">
                  <a16:creationId xmlns="" xmlns:a16="http://schemas.microsoft.com/office/drawing/2014/main" id="{FDF00834-AFA9-4710-A3C1-63F3D44EAEB9}"/>
                </a:ext>
              </a:extLst>
            </p:cNvPr>
            <p:cNvSpPr/>
            <p:nvPr/>
          </p:nvSpPr>
          <p:spPr>
            <a:xfrm>
              <a:off x="10232321" y="3755568"/>
              <a:ext cx="551128" cy="551128"/>
            </a:xfrm>
            <a:prstGeom prst="ellipse">
              <a:avLst/>
            </a:prstGeom>
            <a:ln>
              <a:solidFill>
                <a:sysClr val="window" lastClr="FFFFFF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1" name="椭圆 30">
              <a:extLst>
                <a:ext uri="{FF2B5EF4-FFF2-40B4-BE49-F238E27FC236}">
                  <a16:creationId xmlns="" xmlns:a16="http://schemas.microsoft.com/office/drawing/2014/main" id="{E244C860-F1CE-4444-BA5F-17D388C0C242}"/>
                </a:ext>
              </a:extLst>
            </p:cNvPr>
            <p:cNvSpPr/>
            <p:nvPr/>
          </p:nvSpPr>
          <p:spPr>
            <a:xfrm>
              <a:off x="10353174" y="4478547"/>
              <a:ext cx="436198" cy="436198"/>
            </a:xfrm>
            <a:prstGeom prst="ellipse">
              <a:avLst/>
            </a:prstGeom>
            <a:ln>
              <a:solidFill>
                <a:sysClr val="window" lastClr="FFFFFF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2" name="椭圆 31">
              <a:extLst>
                <a:ext uri="{FF2B5EF4-FFF2-40B4-BE49-F238E27FC236}">
                  <a16:creationId xmlns="" xmlns:a16="http://schemas.microsoft.com/office/drawing/2014/main" id="{CB22C28A-77F5-4CDC-8013-A3B0CC2D79F6}"/>
                </a:ext>
              </a:extLst>
            </p:cNvPr>
            <p:cNvSpPr/>
            <p:nvPr/>
          </p:nvSpPr>
          <p:spPr>
            <a:xfrm>
              <a:off x="10642557" y="5087801"/>
              <a:ext cx="342900" cy="342900"/>
            </a:xfrm>
            <a:prstGeom prst="ellipse">
              <a:avLst/>
            </a:prstGeom>
            <a:ln>
              <a:solidFill>
                <a:sysClr val="window" lastClr="FFFFFF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" name="椭圆 32">
              <a:extLst>
                <a:ext uri="{FF2B5EF4-FFF2-40B4-BE49-F238E27FC236}">
                  <a16:creationId xmlns="" xmlns:a16="http://schemas.microsoft.com/office/drawing/2014/main" id="{4D6026C3-8B6D-428C-9CB0-4563888C3228}"/>
                </a:ext>
              </a:extLst>
            </p:cNvPr>
            <p:cNvSpPr/>
            <p:nvPr/>
          </p:nvSpPr>
          <p:spPr>
            <a:xfrm>
              <a:off x="9625369" y="4155293"/>
              <a:ext cx="676485" cy="676485"/>
            </a:xfrm>
            <a:prstGeom prst="ellipse">
              <a:avLst/>
            </a:prstGeom>
            <a:ln>
              <a:solidFill>
                <a:sysClr val="window" lastClr="FFFFFF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" name="椭圆 33">
              <a:extLst>
                <a:ext uri="{FF2B5EF4-FFF2-40B4-BE49-F238E27FC236}">
                  <a16:creationId xmlns="" xmlns:a16="http://schemas.microsoft.com/office/drawing/2014/main" id="{F1502C6D-6C17-4ABD-8B24-1AF450A3C4ED}"/>
                </a:ext>
              </a:extLst>
            </p:cNvPr>
            <p:cNvSpPr/>
            <p:nvPr/>
          </p:nvSpPr>
          <p:spPr>
            <a:xfrm>
              <a:off x="8929398" y="3844229"/>
              <a:ext cx="526406" cy="526406"/>
            </a:xfrm>
            <a:prstGeom prst="ellipse">
              <a:avLst/>
            </a:prstGeom>
            <a:ln>
              <a:solidFill>
                <a:sysClr val="window" lastClr="FFFFFF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5" name="任意多边形: 形状 7">
              <a:extLst>
                <a:ext uri="{FF2B5EF4-FFF2-40B4-BE49-F238E27FC236}">
                  <a16:creationId xmlns="" xmlns:a16="http://schemas.microsoft.com/office/drawing/2014/main" id="{D627ED2F-6FE7-4FFE-8E3F-68B727130B1A}"/>
                </a:ext>
              </a:extLst>
            </p:cNvPr>
            <p:cNvSpPr/>
            <p:nvPr/>
          </p:nvSpPr>
          <p:spPr>
            <a:xfrm>
              <a:off x="10511657" y="2952750"/>
              <a:ext cx="784993" cy="2781300"/>
            </a:xfrm>
            <a:custGeom>
              <a:avLst/>
              <a:gdLst>
                <a:gd name="connsiteX0" fmla="*/ 194443 w 784993"/>
                <a:gd name="connsiteY0" fmla="*/ 0 h 2781300"/>
                <a:gd name="connsiteX1" fmla="*/ 3943 w 784993"/>
                <a:gd name="connsiteY1" fmla="*/ 1085850 h 2781300"/>
                <a:gd name="connsiteX2" fmla="*/ 80143 w 784993"/>
                <a:gd name="connsiteY2" fmla="*/ 1905000 h 2781300"/>
                <a:gd name="connsiteX3" fmla="*/ 251593 w 784993"/>
                <a:gd name="connsiteY3" fmla="*/ 2171700 h 2781300"/>
                <a:gd name="connsiteX4" fmla="*/ 442093 w 784993"/>
                <a:gd name="connsiteY4" fmla="*/ 2647950 h 2781300"/>
                <a:gd name="connsiteX5" fmla="*/ 784993 w 784993"/>
                <a:gd name="connsiteY5" fmla="*/ 2781300 h 278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4993" h="2781300">
                  <a:moveTo>
                    <a:pt x="194443" y="0"/>
                  </a:moveTo>
                  <a:cubicBezTo>
                    <a:pt x="108718" y="384175"/>
                    <a:pt x="22993" y="768350"/>
                    <a:pt x="3943" y="1085850"/>
                  </a:cubicBezTo>
                  <a:cubicBezTo>
                    <a:pt x="-15107" y="1403350"/>
                    <a:pt x="38868" y="1724025"/>
                    <a:pt x="80143" y="1905000"/>
                  </a:cubicBezTo>
                  <a:cubicBezTo>
                    <a:pt x="121418" y="2085975"/>
                    <a:pt x="191268" y="2047875"/>
                    <a:pt x="251593" y="2171700"/>
                  </a:cubicBezTo>
                  <a:cubicBezTo>
                    <a:pt x="311918" y="2295525"/>
                    <a:pt x="353193" y="2546350"/>
                    <a:pt x="442093" y="2647950"/>
                  </a:cubicBezTo>
                  <a:cubicBezTo>
                    <a:pt x="530993" y="2749550"/>
                    <a:pt x="657993" y="2765425"/>
                    <a:pt x="784993" y="2781300"/>
                  </a:cubicBezTo>
                </a:path>
              </a:pathLst>
            </a:custGeom>
            <a:noFill/>
            <a:ln w="38100">
              <a:solidFill>
                <a:srgbClr val="F81B02"/>
              </a:solidFill>
              <a:prstDash val="sysDash"/>
              <a:headEnd type="arrow" w="med" len="med"/>
              <a:tailEnd type="arrow" w="med" len="med"/>
            </a:ln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" panose="02060603020205020403"/>
              </a:endParaRPr>
            </a:p>
          </p:txBody>
        </p:sp>
        <p:sp>
          <p:nvSpPr>
            <p:cNvPr id="36" name="任意多边形: 形状 8">
              <a:extLst>
                <a:ext uri="{FF2B5EF4-FFF2-40B4-BE49-F238E27FC236}">
                  <a16:creationId xmlns="" xmlns:a16="http://schemas.microsoft.com/office/drawing/2014/main" id="{090F2B9E-53F8-46E3-BD0F-BDAFDF31241A}"/>
                </a:ext>
              </a:extLst>
            </p:cNvPr>
            <p:cNvSpPr/>
            <p:nvPr/>
          </p:nvSpPr>
          <p:spPr>
            <a:xfrm>
              <a:off x="8724900" y="39624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495300 w 1828800"/>
                <a:gd name="connsiteY1" fmla="*/ 247650 h 914400"/>
                <a:gd name="connsiteX2" fmla="*/ 1276350 w 1828800"/>
                <a:gd name="connsiteY2" fmla="*/ 476250 h 914400"/>
                <a:gd name="connsiteX3" fmla="*/ 1828800 w 1828800"/>
                <a:gd name="connsiteY3" fmla="*/ 9144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cubicBezTo>
                    <a:pt x="141287" y="84137"/>
                    <a:pt x="282575" y="168275"/>
                    <a:pt x="495300" y="247650"/>
                  </a:cubicBezTo>
                  <a:cubicBezTo>
                    <a:pt x="708025" y="327025"/>
                    <a:pt x="1054100" y="365125"/>
                    <a:pt x="1276350" y="476250"/>
                  </a:cubicBezTo>
                  <a:cubicBezTo>
                    <a:pt x="1498600" y="587375"/>
                    <a:pt x="1663700" y="750887"/>
                    <a:pt x="1828800" y="914400"/>
                  </a:cubicBezTo>
                </a:path>
              </a:pathLst>
            </a:custGeom>
            <a:noFill/>
            <a:ln w="38100">
              <a:solidFill>
                <a:srgbClr val="F81B02"/>
              </a:solidFill>
              <a:prstDash val="sysDash"/>
              <a:headEnd type="arrow" w="med" len="med"/>
              <a:tailEnd type="arrow" w="med" len="med"/>
            </a:ln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" panose="02060603020205020403"/>
              </a:endParaRPr>
            </a:p>
          </p:txBody>
        </p:sp>
        <p:sp>
          <p:nvSpPr>
            <p:cNvPr id="37" name="矩形: 圆角 56">
              <a:extLst>
                <a:ext uri="{FF2B5EF4-FFF2-40B4-BE49-F238E27FC236}">
                  <a16:creationId xmlns="" xmlns:a16="http://schemas.microsoft.com/office/drawing/2014/main" id="{9F3D906F-F043-47C3-9E8E-A39B2489FCEA}"/>
                </a:ext>
              </a:extLst>
            </p:cNvPr>
            <p:cNvSpPr/>
            <p:nvPr/>
          </p:nvSpPr>
          <p:spPr>
            <a:xfrm>
              <a:off x="10828543" y="2951404"/>
              <a:ext cx="883740" cy="300366"/>
            </a:xfrm>
            <a:prstGeom prst="roundRect">
              <a:avLst/>
            </a:prstGeom>
            <a:solidFill>
              <a:srgbClr val="F81B02"/>
            </a:solidFill>
            <a:ln>
              <a:solidFill>
                <a:sysClr val="window" lastClr="FFFFFF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6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164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北部新城</a:t>
              </a:r>
            </a:p>
          </p:txBody>
        </p:sp>
        <p:sp>
          <p:nvSpPr>
            <p:cNvPr id="38" name="矩形: 圆角 58">
              <a:extLst>
                <a:ext uri="{FF2B5EF4-FFF2-40B4-BE49-F238E27FC236}">
                  <a16:creationId xmlns="" xmlns:a16="http://schemas.microsoft.com/office/drawing/2014/main" id="{EF9711E0-2FA0-4342-B069-595F6DF31996}"/>
                </a:ext>
              </a:extLst>
            </p:cNvPr>
            <p:cNvSpPr/>
            <p:nvPr/>
          </p:nvSpPr>
          <p:spPr>
            <a:xfrm>
              <a:off x="10805807" y="3730766"/>
              <a:ext cx="667689" cy="300366"/>
            </a:xfrm>
            <a:prstGeom prst="roundRect">
              <a:avLst/>
            </a:prstGeom>
            <a:solidFill>
              <a:srgbClr val="F81B02"/>
            </a:solidFill>
            <a:ln>
              <a:solidFill>
                <a:sysClr val="window" lastClr="FFFFFF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6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164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老城区</a:t>
              </a:r>
            </a:p>
          </p:txBody>
        </p:sp>
        <p:sp>
          <p:nvSpPr>
            <p:cNvPr id="39" name="矩形: 圆角 59">
              <a:extLst>
                <a:ext uri="{FF2B5EF4-FFF2-40B4-BE49-F238E27FC236}">
                  <a16:creationId xmlns="" xmlns:a16="http://schemas.microsoft.com/office/drawing/2014/main" id="{B1B1CC71-7D49-460B-84E3-24229A64CBC8}"/>
                </a:ext>
              </a:extLst>
            </p:cNvPr>
            <p:cNvSpPr/>
            <p:nvPr/>
          </p:nvSpPr>
          <p:spPr>
            <a:xfrm>
              <a:off x="10840692" y="4343352"/>
              <a:ext cx="667689" cy="300366"/>
            </a:xfrm>
            <a:prstGeom prst="roundRect">
              <a:avLst/>
            </a:prstGeom>
            <a:solidFill>
              <a:srgbClr val="C00000"/>
            </a:solidFill>
            <a:ln>
              <a:solidFill>
                <a:sysClr val="window" lastClr="FFFFFF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6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164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南区</a:t>
              </a:r>
            </a:p>
          </p:txBody>
        </p:sp>
        <p:sp>
          <p:nvSpPr>
            <p:cNvPr id="40" name="矩形: 圆角 60">
              <a:extLst>
                <a:ext uri="{FF2B5EF4-FFF2-40B4-BE49-F238E27FC236}">
                  <a16:creationId xmlns="" xmlns:a16="http://schemas.microsoft.com/office/drawing/2014/main" id="{8795222A-788D-4A61-8BD6-57CBBEEB9D0E}"/>
                </a:ext>
              </a:extLst>
            </p:cNvPr>
            <p:cNvSpPr/>
            <p:nvPr/>
          </p:nvSpPr>
          <p:spPr>
            <a:xfrm>
              <a:off x="10992979" y="5035970"/>
              <a:ext cx="1099456" cy="300366"/>
            </a:xfrm>
            <a:prstGeom prst="roundRect">
              <a:avLst/>
            </a:prstGeom>
            <a:solidFill>
              <a:srgbClr val="F81B02"/>
            </a:solidFill>
            <a:ln>
              <a:solidFill>
                <a:sysClr val="window" lastClr="FFFFFF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6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164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上板城组团</a:t>
              </a:r>
            </a:p>
          </p:txBody>
        </p:sp>
        <p:sp>
          <p:nvSpPr>
            <p:cNvPr id="41" name="矩形: 圆角 61">
              <a:extLst>
                <a:ext uri="{FF2B5EF4-FFF2-40B4-BE49-F238E27FC236}">
                  <a16:creationId xmlns="" xmlns:a16="http://schemas.microsoft.com/office/drawing/2014/main" id="{63595E3E-038A-4489-A514-0EA684BE9FC7}"/>
                </a:ext>
              </a:extLst>
            </p:cNvPr>
            <p:cNvSpPr/>
            <p:nvPr/>
          </p:nvSpPr>
          <p:spPr>
            <a:xfrm>
              <a:off x="9694914" y="4331077"/>
              <a:ext cx="551129" cy="300366"/>
            </a:xfrm>
            <a:prstGeom prst="roundRect">
              <a:avLst/>
            </a:prstGeom>
            <a:solidFill>
              <a:srgbClr val="F81B02"/>
            </a:solidFill>
            <a:ln>
              <a:solidFill>
                <a:sysClr val="window" lastClr="FFFFFF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6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164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绿核</a:t>
              </a:r>
            </a:p>
          </p:txBody>
        </p:sp>
        <p:sp>
          <p:nvSpPr>
            <p:cNvPr id="42" name="矩形: 圆角 62">
              <a:extLst>
                <a:ext uri="{FF2B5EF4-FFF2-40B4-BE49-F238E27FC236}">
                  <a16:creationId xmlns="" xmlns:a16="http://schemas.microsoft.com/office/drawing/2014/main" id="{E4CA5327-674B-46A9-9DB3-CBB62DAB4122}"/>
                </a:ext>
              </a:extLst>
            </p:cNvPr>
            <p:cNvSpPr/>
            <p:nvPr/>
          </p:nvSpPr>
          <p:spPr>
            <a:xfrm>
              <a:off x="8692848" y="3509480"/>
              <a:ext cx="551129" cy="300366"/>
            </a:xfrm>
            <a:prstGeom prst="roundRect">
              <a:avLst/>
            </a:prstGeom>
            <a:solidFill>
              <a:srgbClr val="F81B02"/>
            </a:solidFill>
            <a:ln>
              <a:solidFill>
                <a:sysClr val="window" lastClr="FFFFFF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6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164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西区</a:t>
              </a:r>
            </a:p>
          </p:txBody>
        </p:sp>
      </p:grpSp>
      <p:grpSp>
        <p:nvGrpSpPr>
          <p:cNvPr id="53" name="组合 52"/>
          <p:cNvGrpSpPr/>
          <p:nvPr/>
        </p:nvGrpSpPr>
        <p:grpSpPr>
          <a:xfrm>
            <a:off x="743123" y="2849397"/>
            <a:ext cx="4311552" cy="6172692"/>
            <a:chOff x="189844" y="1712838"/>
            <a:chExt cx="3323938" cy="4758761"/>
          </a:xfrm>
        </p:grpSpPr>
        <p:grpSp>
          <p:nvGrpSpPr>
            <p:cNvPr id="54" name="组合 53">
              <a:extLst>
                <a:ext uri="{FF2B5EF4-FFF2-40B4-BE49-F238E27FC236}">
                  <a16:creationId xmlns="" xmlns:a16="http://schemas.microsoft.com/office/drawing/2014/main" id="{7A014EA7-3792-4C13-AD84-FDD7D6637863}"/>
                </a:ext>
              </a:extLst>
            </p:cNvPr>
            <p:cNvGrpSpPr/>
            <p:nvPr/>
          </p:nvGrpSpPr>
          <p:grpSpPr>
            <a:xfrm>
              <a:off x="189844" y="1771964"/>
              <a:ext cx="3323938" cy="4699635"/>
              <a:chOff x="220137" y="1338581"/>
              <a:chExt cx="3806293" cy="5381625"/>
            </a:xfrm>
          </p:grpSpPr>
          <p:pic>
            <p:nvPicPr>
              <p:cNvPr id="60" name="图片 59">
                <a:extLst>
                  <a:ext uri="{FF2B5EF4-FFF2-40B4-BE49-F238E27FC236}">
                    <a16:creationId xmlns="" xmlns:a16="http://schemas.microsoft.com/office/drawing/2014/main" id="{E4B8367A-831A-489B-92A4-1DE5822BBF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20137" y="1338581"/>
                <a:ext cx="3806293" cy="5381625"/>
              </a:xfrm>
              <a:prstGeom prst="rect">
                <a:avLst/>
              </a:prstGeom>
            </p:spPr>
          </p:pic>
          <p:sp>
            <p:nvSpPr>
              <p:cNvPr id="61" name="椭圆 60">
                <a:extLst>
                  <a:ext uri="{FF2B5EF4-FFF2-40B4-BE49-F238E27FC236}">
                    <a16:creationId xmlns="" xmlns:a16="http://schemas.microsoft.com/office/drawing/2014/main" id="{0BCE93ED-750B-4FAD-8B3A-7ED44DC3E03E}"/>
                  </a:ext>
                </a:extLst>
              </p:cNvPr>
              <p:cNvSpPr/>
              <p:nvPr/>
            </p:nvSpPr>
            <p:spPr>
              <a:xfrm>
                <a:off x="2320196" y="5601019"/>
                <a:ext cx="133350" cy="133350"/>
              </a:xfrm>
              <a:prstGeom prst="ellipse">
                <a:avLst/>
              </a:prstGeom>
              <a:solidFill>
                <a:srgbClr val="FF0000"/>
              </a:solidFill>
              <a:ln w="15875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ckwell" panose="02060603020205020403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62" name="矩形 61">
                <a:extLst>
                  <a:ext uri="{FF2B5EF4-FFF2-40B4-BE49-F238E27FC236}">
                    <a16:creationId xmlns="" xmlns:a16="http://schemas.microsoft.com/office/drawing/2014/main" id="{BBDE4D4E-81CE-4BC3-9206-40B313B73E61}"/>
                  </a:ext>
                </a:extLst>
              </p:cNvPr>
              <p:cNvSpPr/>
              <p:nvPr/>
            </p:nvSpPr>
            <p:spPr>
              <a:xfrm>
                <a:off x="1767746" y="4949074"/>
                <a:ext cx="1200150" cy="905531"/>
              </a:xfrm>
              <a:prstGeom prst="rect">
                <a:avLst/>
              </a:prstGeom>
              <a:noFill/>
              <a:ln w="15875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ckwell" panose="02060603020205020403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55" name="任意多边形: 形状 20">
              <a:extLst>
                <a:ext uri="{FF2B5EF4-FFF2-40B4-BE49-F238E27FC236}">
                  <a16:creationId xmlns="" xmlns:a16="http://schemas.microsoft.com/office/drawing/2014/main" id="{C9B92324-3F37-4281-B798-D4E2DE2B6C78}"/>
                </a:ext>
              </a:extLst>
            </p:cNvPr>
            <p:cNvSpPr/>
            <p:nvPr/>
          </p:nvSpPr>
          <p:spPr>
            <a:xfrm>
              <a:off x="416706" y="1712838"/>
              <a:ext cx="2315991" cy="2456170"/>
            </a:xfrm>
            <a:custGeom>
              <a:avLst/>
              <a:gdLst>
                <a:gd name="connsiteX0" fmla="*/ 4689987 w 5368413"/>
                <a:gd name="connsiteY0" fmla="*/ 5693343 h 5693343"/>
                <a:gd name="connsiteX1" fmla="*/ 4689987 w 5368413"/>
                <a:gd name="connsiteY1" fmla="*/ 5693343 h 5693343"/>
                <a:gd name="connsiteX2" fmla="*/ 4896464 w 5368413"/>
                <a:gd name="connsiteY2" fmla="*/ 5516362 h 5693343"/>
                <a:gd name="connsiteX3" fmla="*/ 4807974 w 5368413"/>
                <a:gd name="connsiteY3" fmla="*/ 5191898 h 5693343"/>
                <a:gd name="connsiteX4" fmla="*/ 4778477 w 5368413"/>
                <a:gd name="connsiteY4" fmla="*/ 5103408 h 5693343"/>
                <a:gd name="connsiteX5" fmla="*/ 4630993 w 5368413"/>
                <a:gd name="connsiteY5" fmla="*/ 5073911 h 5693343"/>
                <a:gd name="connsiteX6" fmla="*/ 4483510 w 5368413"/>
                <a:gd name="connsiteY6" fmla="*/ 5014917 h 5693343"/>
                <a:gd name="connsiteX7" fmla="*/ 4336026 w 5368413"/>
                <a:gd name="connsiteY7" fmla="*/ 4985420 h 5693343"/>
                <a:gd name="connsiteX8" fmla="*/ 4277032 w 5368413"/>
                <a:gd name="connsiteY8" fmla="*/ 4896930 h 5693343"/>
                <a:gd name="connsiteX9" fmla="*/ 4188542 w 5368413"/>
                <a:gd name="connsiteY9" fmla="*/ 4837937 h 5693343"/>
                <a:gd name="connsiteX10" fmla="*/ 4100051 w 5368413"/>
                <a:gd name="connsiteY10" fmla="*/ 4749446 h 5693343"/>
                <a:gd name="connsiteX11" fmla="*/ 3982064 w 5368413"/>
                <a:gd name="connsiteY11" fmla="*/ 4572466 h 5693343"/>
                <a:gd name="connsiteX12" fmla="*/ 3893574 w 5368413"/>
                <a:gd name="connsiteY12" fmla="*/ 4395485 h 5693343"/>
                <a:gd name="connsiteX13" fmla="*/ 3864077 w 5368413"/>
                <a:gd name="connsiteY13" fmla="*/ 4218504 h 5693343"/>
                <a:gd name="connsiteX14" fmla="*/ 3834581 w 5368413"/>
                <a:gd name="connsiteY14" fmla="*/ 4071020 h 5693343"/>
                <a:gd name="connsiteX15" fmla="*/ 3805084 w 5368413"/>
                <a:gd name="connsiteY15" fmla="*/ 3776053 h 5693343"/>
                <a:gd name="connsiteX16" fmla="*/ 3834581 w 5368413"/>
                <a:gd name="connsiteY16" fmla="*/ 3569575 h 5693343"/>
                <a:gd name="connsiteX17" fmla="*/ 4159045 w 5368413"/>
                <a:gd name="connsiteY17" fmla="*/ 3540078 h 5693343"/>
                <a:gd name="connsiteX18" fmla="*/ 4395019 w 5368413"/>
                <a:gd name="connsiteY18" fmla="*/ 3274608 h 5693343"/>
                <a:gd name="connsiteX19" fmla="*/ 4483510 w 5368413"/>
                <a:gd name="connsiteY19" fmla="*/ 3215614 h 5693343"/>
                <a:gd name="connsiteX20" fmla="*/ 4866968 w 5368413"/>
                <a:gd name="connsiteY20" fmla="*/ 3127124 h 5693343"/>
                <a:gd name="connsiteX21" fmla="*/ 4955458 w 5368413"/>
                <a:gd name="connsiteY21" fmla="*/ 3068130 h 5693343"/>
                <a:gd name="connsiteX22" fmla="*/ 5132439 w 5368413"/>
                <a:gd name="connsiteY22" fmla="*/ 2979640 h 5693343"/>
                <a:gd name="connsiteX23" fmla="*/ 5250426 w 5368413"/>
                <a:gd name="connsiteY23" fmla="*/ 2802659 h 5693343"/>
                <a:gd name="connsiteX24" fmla="*/ 5309419 w 5368413"/>
                <a:gd name="connsiteY24" fmla="*/ 2625678 h 5693343"/>
                <a:gd name="connsiteX25" fmla="*/ 5338916 w 5368413"/>
                <a:gd name="connsiteY25" fmla="*/ 2537188 h 5693343"/>
                <a:gd name="connsiteX26" fmla="*/ 5368413 w 5368413"/>
                <a:gd name="connsiteY26" fmla="*/ 2448698 h 5693343"/>
                <a:gd name="connsiteX27" fmla="*/ 5309419 w 5368413"/>
                <a:gd name="connsiteY27" fmla="*/ 2065240 h 5693343"/>
                <a:gd name="connsiteX28" fmla="*/ 5250426 w 5368413"/>
                <a:gd name="connsiteY28" fmla="*/ 1976749 h 5693343"/>
                <a:gd name="connsiteX29" fmla="*/ 5191432 w 5368413"/>
                <a:gd name="connsiteY29" fmla="*/ 1858762 h 5693343"/>
                <a:gd name="connsiteX30" fmla="*/ 5102942 w 5368413"/>
                <a:gd name="connsiteY30" fmla="*/ 1799769 h 5693343"/>
                <a:gd name="connsiteX31" fmla="*/ 4807974 w 5368413"/>
                <a:gd name="connsiteY31" fmla="*/ 1652285 h 5693343"/>
                <a:gd name="connsiteX32" fmla="*/ 4719484 w 5368413"/>
                <a:gd name="connsiteY32" fmla="*/ 1622788 h 5693343"/>
                <a:gd name="connsiteX33" fmla="*/ 4660490 w 5368413"/>
                <a:gd name="connsiteY33" fmla="*/ 1534298 h 5693343"/>
                <a:gd name="connsiteX34" fmla="*/ 4630993 w 5368413"/>
                <a:gd name="connsiteY34" fmla="*/ 1445808 h 5693343"/>
                <a:gd name="connsiteX35" fmla="*/ 4837471 w 5368413"/>
                <a:gd name="connsiteY35" fmla="*/ 1357317 h 5693343"/>
                <a:gd name="connsiteX36" fmla="*/ 5043948 w 5368413"/>
                <a:gd name="connsiteY36" fmla="*/ 1062349 h 5693343"/>
                <a:gd name="connsiteX37" fmla="*/ 5132439 w 5368413"/>
                <a:gd name="connsiteY37" fmla="*/ 885369 h 5693343"/>
                <a:gd name="connsiteX38" fmla="*/ 4925961 w 5368413"/>
                <a:gd name="connsiteY38" fmla="*/ 737885 h 5693343"/>
                <a:gd name="connsiteX39" fmla="*/ 4630993 w 5368413"/>
                <a:gd name="connsiteY39" fmla="*/ 590401 h 5693343"/>
                <a:gd name="connsiteX40" fmla="*/ 4424516 w 5368413"/>
                <a:gd name="connsiteY40" fmla="*/ 472414 h 5693343"/>
                <a:gd name="connsiteX41" fmla="*/ 4336026 w 5368413"/>
                <a:gd name="connsiteY41" fmla="*/ 442917 h 5693343"/>
                <a:gd name="connsiteX42" fmla="*/ 4070555 w 5368413"/>
                <a:gd name="connsiteY42" fmla="*/ 236440 h 5693343"/>
                <a:gd name="connsiteX43" fmla="*/ 3805084 w 5368413"/>
                <a:gd name="connsiteY43" fmla="*/ 118453 h 5693343"/>
                <a:gd name="connsiteX44" fmla="*/ 3746090 w 5368413"/>
                <a:gd name="connsiteY44" fmla="*/ 29962 h 5693343"/>
                <a:gd name="connsiteX45" fmla="*/ 3451122 w 5368413"/>
                <a:gd name="connsiteY45" fmla="*/ 29962 h 5693343"/>
                <a:gd name="connsiteX46" fmla="*/ 3156155 w 5368413"/>
                <a:gd name="connsiteY46" fmla="*/ 88956 h 5693343"/>
                <a:gd name="connsiteX47" fmla="*/ 3067664 w 5368413"/>
                <a:gd name="connsiteY47" fmla="*/ 118453 h 5693343"/>
                <a:gd name="connsiteX48" fmla="*/ 2743200 w 5368413"/>
                <a:gd name="connsiteY48" fmla="*/ 177446 h 5693343"/>
                <a:gd name="connsiteX49" fmla="*/ 2035277 w 5368413"/>
                <a:gd name="connsiteY49" fmla="*/ 206943 h 5693343"/>
                <a:gd name="connsiteX50" fmla="*/ 1828800 w 5368413"/>
                <a:gd name="connsiteY50" fmla="*/ 265937 h 5693343"/>
                <a:gd name="connsiteX51" fmla="*/ 1504335 w 5368413"/>
                <a:gd name="connsiteY51" fmla="*/ 324930 h 5693343"/>
                <a:gd name="connsiteX52" fmla="*/ 1415845 w 5368413"/>
                <a:gd name="connsiteY52" fmla="*/ 383924 h 5693343"/>
                <a:gd name="connsiteX53" fmla="*/ 1238864 w 5368413"/>
                <a:gd name="connsiteY53" fmla="*/ 442917 h 5693343"/>
                <a:gd name="connsiteX54" fmla="*/ 1032387 w 5368413"/>
                <a:gd name="connsiteY54" fmla="*/ 560904 h 5693343"/>
                <a:gd name="connsiteX55" fmla="*/ 825910 w 5368413"/>
                <a:gd name="connsiteY55" fmla="*/ 678891 h 5693343"/>
                <a:gd name="connsiteX56" fmla="*/ 619432 w 5368413"/>
                <a:gd name="connsiteY56" fmla="*/ 796878 h 5693343"/>
                <a:gd name="connsiteX57" fmla="*/ 442451 w 5368413"/>
                <a:gd name="connsiteY57" fmla="*/ 914866 h 5693343"/>
                <a:gd name="connsiteX58" fmla="*/ 383458 w 5368413"/>
                <a:gd name="connsiteY58" fmla="*/ 1003356 h 5693343"/>
                <a:gd name="connsiteX59" fmla="*/ 176981 w 5368413"/>
                <a:gd name="connsiteY59" fmla="*/ 1091846 h 5693343"/>
                <a:gd name="connsiteX60" fmla="*/ 58993 w 5368413"/>
                <a:gd name="connsiteY60" fmla="*/ 944362 h 5693343"/>
                <a:gd name="connsiteX61" fmla="*/ 0 w 5368413"/>
                <a:gd name="connsiteY61" fmla="*/ 1032853 h 5693343"/>
                <a:gd name="connsiteX62" fmla="*/ 117987 w 5368413"/>
                <a:gd name="connsiteY62" fmla="*/ 1475304 h 5693343"/>
                <a:gd name="connsiteX63" fmla="*/ 206477 w 5368413"/>
                <a:gd name="connsiteY63" fmla="*/ 1534298 h 5693343"/>
                <a:gd name="connsiteX64" fmla="*/ 235974 w 5368413"/>
                <a:gd name="connsiteY64" fmla="*/ 1622788 h 5693343"/>
                <a:gd name="connsiteX65" fmla="*/ 294968 w 5368413"/>
                <a:gd name="connsiteY65" fmla="*/ 1711278 h 5693343"/>
                <a:gd name="connsiteX66" fmla="*/ 324464 w 5368413"/>
                <a:gd name="connsiteY66" fmla="*/ 2832156 h 5693343"/>
                <a:gd name="connsiteX67" fmla="*/ 560439 w 5368413"/>
                <a:gd name="connsiteY67" fmla="*/ 3127124 h 5693343"/>
                <a:gd name="connsiteX68" fmla="*/ 884903 w 5368413"/>
                <a:gd name="connsiteY68" fmla="*/ 3156620 h 5693343"/>
                <a:gd name="connsiteX69" fmla="*/ 1002890 w 5368413"/>
                <a:gd name="connsiteY69" fmla="*/ 3658066 h 5693343"/>
                <a:gd name="connsiteX70" fmla="*/ 1061884 w 5368413"/>
                <a:gd name="connsiteY70" fmla="*/ 3540078 h 5693343"/>
                <a:gd name="connsiteX71" fmla="*/ 1091381 w 5368413"/>
                <a:gd name="connsiteY71" fmla="*/ 3422091 h 5693343"/>
                <a:gd name="connsiteX72" fmla="*/ 1150374 w 5368413"/>
                <a:gd name="connsiteY72" fmla="*/ 3333601 h 5693343"/>
                <a:gd name="connsiteX73" fmla="*/ 1238864 w 5368413"/>
                <a:gd name="connsiteY73" fmla="*/ 3156620 h 5693343"/>
                <a:gd name="connsiteX74" fmla="*/ 1327355 w 5368413"/>
                <a:gd name="connsiteY74" fmla="*/ 3186117 h 5693343"/>
                <a:gd name="connsiteX75" fmla="*/ 1474839 w 5368413"/>
                <a:gd name="connsiteY75" fmla="*/ 3215614 h 5693343"/>
                <a:gd name="connsiteX76" fmla="*/ 1415845 w 5368413"/>
                <a:gd name="connsiteY76" fmla="*/ 3510582 h 5693343"/>
                <a:gd name="connsiteX77" fmla="*/ 1356851 w 5368413"/>
                <a:gd name="connsiteY77" fmla="*/ 3599072 h 5693343"/>
                <a:gd name="connsiteX78" fmla="*/ 1533832 w 5368413"/>
                <a:gd name="connsiteY78" fmla="*/ 3422091 h 5693343"/>
                <a:gd name="connsiteX79" fmla="*/ 1651819 w 5368413"/>
                <a:gd name="connsiteY79" fmla="*/ 3304104 h 5693343"/>
                <a:gd name="connsiteX80" fmla="*/ 1828800 w 5368413"/>
                <a:gd name="connsiteY80" fmla="*/ 3451588 h 5693343"/>
                <a:gd name="connsiteX81" fmla="*/ 1917290 w 5368413"/>
                <a:gd name="connsiteY81" fmla="*/ 3746556 h 5693343"/>
                <a:gd name="connsiteX82" fmla="*/ 1946787 w 5368413"/>
                <a:gd name="connsiteY82" fmla="*/ 3894040 h 5693343"/>
                <a:gd name="connsiteX83" fmla="*/ 2064774 w 5368413"/>
                <a:gd name="connsiteY83" fmla="*/ 4071020 h 5693343"/>
                <a:gd name="connsiteX84" fmla="*/ 2123768 w 5368413"/>
                <a:gd name="connsiteY84" fmla="*/ 4159511 h 5693343"/>
                <a:gd name="connsiteX85" fmla="*/ 2182761 w 5368413"/>
                <a:gd name="connsiteY85" fmla="*/ 4248001 h 5693343"/>
                <a:gd name="connsiteX86" fmla="*/ 2123768 w 5368413"/>
                <a:gd name="connsiteY86" fmla="*/ 4837937 h 5693343"/>
                <a:gd name="connsiteX87" fmla="*/ 2064774 w 5368413"/>
                <a:gd name="connsiteY87" fmla="*/ 4955924 h 5693343"/>
                <a:gd name="connsiteX88" fmla="*/ 2271251 w 5368413"/>
                <a:gd name="connsiteY88" fmla="*/ 5103408 h 5693343"/>
                <a:gd name="connsiteX89" fmla="*/ 2389239 w 5368413"/>
                <a:gd name="connsiteY89" fmla="*/ 5250891 h 5693343"/>
                <a:gd name="connsiteX90" fmla="*/ 2595716 w 5368413"/>
                <a:gd name="connsiteY90" fmla="*/ 5191898 h 5693343"/>
                <a:gd name="connsiteX91" fmla="*/ 2979174 w 5368413"/>
                <a:gd name="connsiteY91" fmla="*/ 5132904 h 5693343"/>
                <a:gd name="connsiteX92" fmla="*/ 3244645 w 5368413"/>
                <a:gd name="connsiteY92" fmla="*/ 5162401 h 5693343"/>
                <a:gd name="connsiteX93" fmla="*/ 3362632 w 5368413"/>
                <a:gd name="connsiteY93" fmla="*/ 5339382 h 5693343"/>
                <a:gd name="connsiteX94" fmla="*/ 3952568 w 5368413"/>
                <a:gd name="connsiteY94" fmla="*/ 5368878 h 5693343"/>
                <a:gd name="connsiteX95" fmla="*/ 4218039 w 5368413"/>
                <a:gd name="connsiteY95" fmla="*/ 5457369 h 5693343"/>
                <a:gd name="connsiteX96" fmla="*/ 4424516 w 5368413"/>
                <a:gd name="connsiteY96" fmla="*/ 5486866 h 5693343"/>
                <a:gd name="connsiteX97" fmla="*/ 4513006 w 5368413"/>
                <a:gd name="connsiteY97" fmla="*/ 5516362 h 5693343"/>
                <a:gd name="connsiteX98" fmla="*/ 4572000 w 5368413"/>
                <a:gd name="connsiteY98" fmla="*/ 5604853 h 5693343"/>
                <a:gd name="connsiteX99" fmla="*/ 4630993 w 5368413"/>
                <a:gd name="connsiteY99" fmla="*/ 5663846 h 5693343"/>
                <a:gd name="connsiteX100" fmla="*/ 4748981 w 5368413"/>
                <a:gd name="connsiteY100" fmla="*/ 5693343 h 5693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</a:cxnLst>
              <a:rect l="l" t="t" r="r" b="b"/>
              <a:pathLst>
                <a:path w="5368413" h="5693343">
                  <a:moveTo>
                    <a:pt x="4689987" y="5693343"/>
                  </a:moveTo>
                  <a:lnTo>
                    <a:pt x="4689987" y="5693343"/>
                  </a:lnTo>
                  <a:cubicBezTo>
                    <a:pt x="4758813" y="5634349"/>
                    <a:pt x="4858477" y="5598667"/>
                    <a:pt x="4896464" y="5516362"/>
                  </a:cubicBezTo>
                  <a:cubicBezTo>
                    <a:pt x="4944054" y="5413251"/>
                    <a:pt x="4845374" y="5279164"/>
                    <a:pt x="4807974" y="5191898"/>
                  </a:cubicBezTo>
                  <a:cubicBezTo>
                    <a:pt x="4795726" y="5163320"/>
                    <a:pt x="4804347" y="5120655"/>
                    <a:pt x="4778477" y="5103408"/>
                  </a:cubicBezTo>
                  <a:cubicBezTo>
                    <a:pt x="4736762" y="5075598"/>
                    <a:pt x="4680154" y="5083743"/>
                    <a:pt x="4630993" y="5073911"/>
                  </a:cubicBezTo>
                  <a:cubicBezTo>
                    <a:pt x="4581832" y="5054246"/>
                    <a:pt x="4534225" y="5030132"/>
                    <a:pt x="4483510" y="5014917"/>
                  </a:cubicBezTo>
                  <a:cubicBezTo>
                    <a:pt x="4435489" y="5000511"/>
                    <a:pt x="4379555" y="5010294"/>
                    <a:pt x="4336026" y="4985420"/>
                  </a:cubicBezTo>
                  <a:cubicBezTo>
                    <a:pt x="4305246" y="4967832"/>
                    <a:pt x="4302100" y="4921997"/>
                    <a:pt x="4277032" y="4896930"/>
                  </a:cubicBezTo>
                  <a:cubicBezTo>
                    <a:pt x="4251965" y="4871863"/>
                    <a:pt x="4215776" y="4860632"/>
                    <a:pt x="4188542" y="4837937"/>
                  </a:cubicBezTo>
                  <a:cubicBezTo>
                    <a:pt x="4156496" y="4811232"/>
                    <a:pt x="4129548" y="4778943"/>
                    <a:pt x="4100051" y="4749446"/>
                  </a:cubicBezTo>
                  <a:cubicBezTo>
                    <a:pt x="4048214" y="4593932"/>
                    <a:pt x="4104816" y="4719769"/>
                    <a:pt x="3982064" y="4572466"/>
                  </a:cubicBezTo>
                  <a:cubicBezTo>
                    <a:pt x="3918532" y="4496228"/>
                    <a:pt x="3923136" y="4484170"/>
                    <a:pt x="3893574" y="4395485"/>
                  </a:cubicBezTo>
                  <a:cubicBezTo>
                    <a:pt x="3883742" y="4336491"/>
                    <a:pt x="3874776" y="4277347"/>
                    <a:pt x="3864077" y="4218504"/>
                  </a:cubicBezTo>
                  <a:cubicBezTo>
                    <a:pt x="3855109" y="4169178"/>
                    <a:pt x="3841207" y="4120715"/>
                    <a:pt x="3834581" y="4071020"/>
                  </a:cubicBezTo>
                  <a:cubicBezTo>
                    <a:pt x="3821522" y="3973074"/>
                    <a:pt x="3814916" y="3874375"/>
                    <a:pt x="3805084" y="3776053"/>
                  </a:cubicBezTo>
                  <a:cubicBezTo>
                    <a:pt x="3814916" y="3707227"/>
                    <a:pt x="3776733" y="3608141"/>
                    <a:pt x="3834581" y="3569575"/>
                  </a:cubicBezTo>
                  <a:cubicBezTo>
                    <a:pt x="3924942" y="3509334"/>
                    <a:pt x="4058624" y="3581428"/>
                    <a:pt x="4159045" y="3540078"/>
                  </a:cubicBezTo>
                  <a:cubicBezTo>
                    <a:pt x="4369634" y="3453365"/>
                    <a:pt x="4286119" y="3383508"/>
                    <a:pt x="4395019" y="3274608"/>
                  </a:cubicBezTo>
                  <a:cubicBezTo>
                    <a:pt x="4420087" y="3249540"/>
                    <a:pt x="4452730" y="3233203"/>
                    <a:pt x="4483510" y="3215614"/>
                  </a:cubicBezTo>
                  <a:cubicBezTo>
                    <a:pt x="4650468" y="3120209"/>
                    <a:pt x="4619885" y="3154577"/>
                    <a:pt x="4866968" y="3127124"/>
                  </a:cubicBezTo>
                  <a:cubicBezTo>
                    <a:pt x="4896465" y="3107459"/>
                    <a:pt x="4923750" y="3083984"/>
                    <a:pt x="4955458" y="3068130"/>
                  </a:cubicBezTo>
                  <a:cubicBezTo>
                    <a:pt x="5199715" y="2946000"/>
                    <a:pt x="4878821" y="3148716"/>
                    <a:pt x="5132439" y="2979640"/>
                  </a:cubicBezTo>
                  <a:cubicBezTo>
                    <a:pt x="5230018" y="2686892"/>
                    <a:pt x="5066303" y="3134079"/>
                    <a:pt x="5250426" y="2802659"/>
                  </a:cubicBezTo>
                  <a:cubicBezTo>
                    <a:pt x="5280626" y="2748300"/>
                    <a:pt x="5289755" y="2684672"/>
                    <a:pt x="5309419" y="2625678"/>
                  </a:cubicBezTo>
                  <a:lnTo>
                    <a:pt x="5338916" y="2537188"/>
                  </a:lnTo>
                  <a:lnTo>
                    <a:pt x="5368413" y="2448698"/>
                  </a:lnTo>
                  <a:cubicBezTo>
                    <a:pt x="5359953" y="2364095"/>
                    <a:pt x="5362571" y="2171544"/>
                    <a:pt x="5309419" y="2065240"/>
                  </a:cubicBezTo>
                  <a:cubicBezTo>
                    <a:pt x="5293565" y="2033532"/>
                    <a:pt x="5268014" y="2007529"/>
                    <a:pt x="5250426" y="1976749"/>
                  </a:cubicBezTo>
                  <a:cubicBezTo>
                    <a:pt x="5228610" y="1938571"/>
                    <a:pt x="5219582" y="1892542"/>
                    <a:pt x="5191432" y="1858762"/>
                  </a:cubicBezTo>
                  <a:cubicBezTo>
                    <a:pt x="5168737" y="1831528"/>
                    <a:pt x="5131789" y="1820374"/>
                    <a:pt x="5102942" y="1799769"/>
                  </a:cubicBezTo>
                  <a:cubicBezTo>
                    <a:pt x="4919479" y="1668724"/>
                    <a:pt x="5051488" y="1733456"/>
                    <a:pt x="4807974" y="1652285"/>
                  </a:cubicBezTo>
                  <a:lnTo>
                    <a:pt x="4719484" y="1622788"/>
                  </a:lnTo>
                  <a:cubicBezTo>
                    <a:pt x="4699819" y="1593291"/>
                    <a:pt x="4676344" y="1566006"/>
                    <a:pt x="4660490" y="1534298"/>
                  </a:cubicBezTo>
                  <a:cubicBezTo>
                    <a:pt x="4646585" y="1506488"/>
                    <a:pt x="4630993" y="1445808"/>
                    <a:pt x="4630993" y="1445808"/>
                  </a:cubicBezTo>
                  <a:lnTo>
                    <a:pt x="4837471" y="1357317"/>
                  </a:lnTo>
                  <a:cubicBezTo>
                    <a:pt x="4906297" y="1258994"/>
                    <a:pt x="5005995" y="1176208"/>
                    <a:pt x="5043948" y="1062349"/>
                  </a:cubicBezTo>
                  <a:cubicBezTo>
                    <a:pt x="5084656" y="940228"/>
                    <a:pt x="5056198" y="999729"/>
                    <a:pt x="5132439" y="885369"/>
                  </a:cubicBezTo>
                  <a:cubicBezTo>
                    <a:pt x="5068529" y="693638"/>
                    <a:pt x="5161936" y="895202"/>
                    <a:pt x="4925961" y="737885"/>
                  </a:cubicBezTo>
                  <a:cubicBezTo>
                    <a:pt x="4575261" y="504085"/>
                    <a:pt x="4897808" y="690456"/>
                    <a:pt x="4630993" y="590401"/>
                  </a:cubicBezTo>
                  <a:cubicBezTo>
                    <a:pt x="4424143" y="512833"/>
                    <a:pt x="4595672" y="557993"/>
                    <a:pt x="4424516" y="472414"/>
                  </a:cubicBezTo>
                  <a:cubicBezTo>
                    <a:pt x="4396706" y="458509"/>
                    <a:pt x="4365523" y="452749"/>
                    <a:pt x="4336026" y="442917"/>
                  </a:cubicBezTo>
                  <a:cubicBezTo>
                    <a:pt x="4259675" y="366567"/>
                    <a:pt x="4176397" y="271721"/>
                    <a:pt x="4070555" y="236440"/>
                  </a:cubicBezTo>
                  <a:cubicBezTo>
                    <a:pt x="3859943" y="166236"/>
                    <a:pt x="3945315" y="211940"/>
                    <a:pt x="3805084" y="118453"/>
                  </a:cubicBezTo>
                  <a:cubicBezTo>
                    <a:pt x="3785419" y="88956"/>
                    <a:pt x="3773773" y="52108"/>
                    <a:pt x="3746090" y="29962"/>
                  </a:cubicBezTo>
                  <a:cubicBezTo>
                    <a:pt x="3668088" y="-32440"/>
                    <a:pt x="3517442" y="20488"/>
                    <a:pt x="3451122" y="29962"/>
                  </a:cubicBezTo>
                  <a:cubicBezTo>
                    <a:pt x="3251203" y="96602"/>
                    <a:pt x="3495091" y="21168"/>
                    <a:pt x="3156155" y="88956"/>
                  </a:cubicBezTo>
                  <a:cubicBezTo>
                    <a:pt x="3125666" y="95054"/>
                    <a:pt x="3097828" y="110912"/>
                    <a:pt x="3067664" y="118453"/>
                  </a:cubicBezTo>
                  <a:cubicBezTo>
                    <a:pt x="3021290" y="130046"/>
                    <a:pt x="2779055" y="175056"/>
                    <a:pt x="2743200" y="177446"/>
                  </a:cubicBezTo>
                  <a:cubicBezTo>
                    <a:pt x="2507544" y="193157"/>
                    <a:pt x="2271251" y="197111"/>
                    <a:pt x="2035277" y="206943"/>
                  </a:cubicBezTo>
                  <a:cubicBezTo>
                    <a:pt x="1959461" y="232215"/>
                    <a:pt x="1910282" y="251122"/>
                    <a:pt x="1828800" y="265937"/>
                  </a:cubicBezTo>
                  <a:cubicBezTo>
                    <a:pt x="1441271" y="336396"/>
                    <a:pt x="1771940" y="258028"/>
                    <a:pt x="1504335" y="324930"/>
                  </a:cubicBezTo>
                  <a:cubicBezTo>
                    <a:pt x="1474838" y="344595"/>
                    <a:pt x="1448240" y="369526"/>
                    <a:pt x="1415845" y="383924"/>
                  </a:cubicBezTo>
                  <a:cubicBezTo>
                    <a:pt x="1359020" y="409180"/>
                    <a:pt x="1238864" y="442917"/>
                    <a:pt x="1238864" y="442917"/>
                  </a:cubicBezTo>
                  <a:cubicBezTo>
                    <a:pt x="1023272" y="586647"/>
                    <a:pt x="1294353" y="411209"/>
                    <a:pt x="1032387" y="560904"/>
                  </a:cubicBezTo>
                  <a:cubicBezTo>
                    <a:pt x="740542" y="727673"/>
                    <a:pt x="1182456" y="500620"/>
                    <a:pt x="825910" y="678891"/>
                  </a:cubicBezTo>
                  <a:cubicBezTo>
                    <a:pt x="586461" y="918340"/>
                    <a:pt x="896734" y="638420"/>
                    <a:pt x="619432" y="796878"/>
                  </a:cubicBezTo>
                  <a:cubicBezTo>
                    <a:pt x="310096" y="973642"/>
                    <a:pt x="718739" y="822770"/>
                    <a:pt x="442451" y="914866"/>
                  </a:cubicBezTo>
                  <a:cubicBezTo>
                    <a:pt x="422787" y="944363"/>
                    <a:pt x="410692" y="980661"/>
                    <a:pt x="383458" y="1003356"/>
                  </a:cubicBezTo>
                  <a:cubicBezTo>
                    <a:pt x="334861" y="1043854"/>
                    <a:pt x="238455" y="1071354"/>
                    <a:pt x="176981" y="1091846"/>
                  </a:cubicBezTo>
                  <a:cubicBezTo>
                    <a:pt x="163438" y="1051218"/>
                    <a:pt x="142381" y="927684"/>
                    <a:pt x="58993" y="944362"/>
                  </a:cubicBezTo>
                  <a:cubicBezTo>
                    <a:pt x="24231" y="951315"/>
                    <a:pt x="19664" y="1003356"/>
                    <a:pt x="0" y="1032853"/>
                  </a:cubicBezTo>
                  <a:cubicBezTo>
                    <a:pt x="25666" y="1340846"/>
                    <a:pt x="-51651" y="1333938"/>
                    <a:pt x="117987" y="1475304"/>
                  </a:cubicBezTo>
                  <a:cubicBezTo>
                    <a:pt x="145221" y="1497999"/>
                    <a:pt x="176980" y="1514633"/>
                    <a:pt x="206477" y="1534298"/>
                  </a:cubicBezTo>
                  <a:cubicBezTo>
                    <a:pt x="216309" y="1563795"/>
                    <a:pt x="222069" y="1594978"/>
                    <a:pt x="235974" y="1622788"/>
                  </a:cubicBezTo>
                  <a:cubicBezTo>
                    <a:pt x="251828" y="1654496"/>
                    <a:pt x="292381" y="1675922"/>
                    <a:pt x="294968" y="1711278"/>
                  </a:cubicBezTo>
                  <a:cubicBezTo>
                    <a:pt x="322243" y="2084037"/>
                    <a:pt x="299040" y="2459266"/>
                    <a:pt x="324464" y="2832156"/>
                  </a:cubicBezTo>
                  <a:cubicBezTo>
                    <a:pt x="332789" y="2954257"/>
                    <a:pt x="415052" y="3113907"/>
                    <a:pt x="560439" y="3127124"/>
                  </a:cubicBezTo>
                  <a:lnTo>
                    <a:pt x="884903" y="3156620"/>
                  </a:lnTo>
                  <a:cubicBezTo>
                    <a:pt x="1125242" y="3316848"/>
                    <a:pt x="850692" y="3100012"/>
                    <a:pt x="1002890" y="3658066"/>
                  </a:cubicBezTo>
                  <a:cubicBezTo>
                    <a:pt x="1014460" y="3700488"/>
                    <a:pt x="1046445" y="3581250"/>
                    <a:pt x="1061884" y="3540078"/>
                  </a:cubicBezTo>
                  <a:cubicBezTo>
                    <a:pt x="1076118" y="3502120"/>
                    <a:pt x="1075412" y="3459353"/>
                    <a:pt x="1091381" y="3422091"/>
                  </a:cubicBezTo>
                  <a:cubicBezTo>
                    <a:pt x="1105346" y="3389507"/>
                    <a:pt x="1134520" y="3365309"/>
                    <a:pt x="1150374" y="3333601"/>
                  </a:cubicBezTo>
                  <a:cubicBezTo>
                    <a:pt x="1272498" y="3089352"/>
                    <a:pt x="1069795" y="3410228"/>
                    <a:pt x="1238864" y="3156620"/>
                  </a:cubicBezTo>
                  <a:cubicBezTo>
                    <a:pt x="1268361" y="3166452"/>
                    <a:pt x="1297191" y="3178576"/>
                    <a:pt x="1327355" y="3186117"/>
                  </a:cubicBezTo>
                  <a:cubicBezTo>
                    <a:pt x="1375993" y="3198277"/>
                    <a:pt x="1452418" y="3170772"/>
                    <a:pt x="1474839" y="3215614"/>
                  </a:cubicBezTo>
                  <a:cubicBezTo>
                    <a:pt x="1488427" y="3242789"/>
                    <a:pt x="1446093" y="3450087"/>
                    <a:pt x="1415845" y="3510582"/>
                  </a:cubicBezTo>
                  <a:cubicBezTo>
                    <a:pt x="1399991" y="3542290"/>
                    <a:pt x="1328491" y="3620343"/>
                    <a:pt x="1356851" y="3599072"/>
                  </a:cubicBezTo>
                  <a:cubicBezTo>
                    <a:pt x="1423595" y="3549014"/>
                    <a:pt x="1474838" y="3481085"/>
                    <a:pt x="1533832" y="3422091"/>
                  </a:cubicBezTo>
                  <a:lnTo>
                    <a:pt x="1651819" y="3304104"/>
                  </a:lnTo>
                  <a:cubicBezTo>
                    <a:pt x="1706896" y="3340822"/>
                    <a:pt x="1795401" y="3391469"/>
                    <a:pt x="1828800" y="3451588"/>
                  </a:cubicBezTo>
                  <a:cubicBezTo>
                    <a:pt x="1856031" y="3500605"/>
                    <a:pt x="1901774" y="3676736"/>
                    <a:pt x="1917290" y="3746556"/>
                  </a:cubicBezTo>
                  <a:cubicBezTo>
                    <a:pt x="1928166" y="3795497"/>
                    <a:pt x="1926041" y="3848399"/>
                    <a:pt x="1946787" y="3894040"/>
                  </a:cubicBezTo>
                  <a:cubicBezTo>
                    <a:pt x="1976126" y="3958586"/>
                    <a:pt x="2025445" y="4012027"/>
                    <a:pt x="2064774" y="4071020"/>
                  </a:cubicBezTo>
                  <a:lnTo>
                    <a:pt x="2123768" y="4159511"/>
                  </a:lnTo>
                  <a:lnTo>
                    <a:pt x="2182761" y="4248001"/>
                  </a:lnTo>
                  <a:cubicBezTo>
                    <a:pt x="2171621" y="4437375"/>
                    <a:pt x="2202463" y="4654315"/>
                    <a:pt x="2123768" y="4837937"/>
                  </a:cubicBezTo>
                  <a:cubicBezTo>
                    <a:pt x="2106447" y="4878353"/>
                    <a:pt x="2084439" y="4916595"/>
                    <a:pt x="2064774" y="4955924"/>
                  </a:cubicBezTo>
                  <a:cubicBezTo>
                    <a:pt x="2157048" y="5002061"/>
                    <a:pt x="2211459" y="5013719"/>
                    <a:pt x="2271251" y="5103408"/>
                  </a:cubicBezTo>
                  <a:cubicBezTo>
                    <a:pt x="2385229" y="5274376"/>
                    <a:pt x="2191336" y="5118958"/>
                    <a:pt x="2389239" y="5250891"/>
                  </a:cubicBezTo>
                  <a:cubicBezTo>
                    <a:pt x="2473575" y="5222780"/>
                    <a:pt x="2503126" y="5210416"/>
                    <a:pt x="2595716" y="5191898"/>
                  </a:cubicBezTo>
                  <a:cubicBezTo>
                    <a:pt x="2698031" y="5171435"/>
                    <a:pt x="2880009" y="5147071"/>
                    <a:pt x="2979174" y="5132904"/>
                  </a:cubicBezTo>
                  <a:cubicBezTo>
                    <a:pt x="3067664" y="5142736"/>
                    <a:pt x="3161978" y="5129334"/>
                    <a:pt x="3244645" y="5162401"/>
                  </a:cubicBezTo>
                  <a:cubicBezTo>
                    <a:pt x="3477372" y="5255492"/>
                    <a:pt x="2997192" y="5275827"/>
                    <a:pt x="3362632" y="5339382"/>
                  </a:cubicBezTo>
                  <a:cubicBezTo>
                    <a:pt x="3556611" y="5373117"/>
                    <a:pt x="3755923" y="5359046"/>
                    <a:pt x="3952568" y="5368878"/>
                  </a:cubicBezTo>
                  <a:cubicBezTo>
                    <a:pt x="4155418" y="5504113"/>
                    <a:pt x="4062285" y="5509287"/>
                    <a:pt x="4218039" y="5457369"/>
                  </a:cubicBezTo>
                  <a:cubicBezTo>
                    <a:pt x="4286865" y="5467201"/>
                    <a:pt x="4356342" y="5473231"/>
                    <a:pt x="4424516" y="5486866"/>
                  </a:cubicBezTo>
                  <a:cubicBezTo>
                    <a:pt x="4455004" y="5492964"/>
                    <a:pt x="4488727" y="5496939"/>
                    <a:pt x="4513006" y="5516362"/>
                  </a:cubicBezTo>
                  <a:cubicBezTo>
                    <a:pt x="4540689" y="5538508"/>
                    <a:pt x="4549854" y="5577170"/>
                    <a:pt x="4572000" y="5604853"/>
                  </a:cubicBezTo>
                  <a:cubicBezTo>
                    <a:pt x="4589372" y="5626569"/>
                    <a:pt x="4611329" y="5644182"/>
                    <a:pt x="4630993" y="5663846"/>
                  </a:cubicBezTo>
                  <a:lnTo>
                    <a:pt x="4748981" y="5693343"/>
                  </a:lnTo>
                </a:path>
              </a:pathLst>
            </a:custGeom>
            <a:solidFill>
              <a:srgbClr val="4472C4">
                <a:alpha val="50196"/>
              </a:srgbClr>
            </a:solidFill>
            <a:ln>
              <a:solidFill>
                <a:srgbClr val="FF0000"/>
              </a:solidFill>
            </a:ln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ckwell" panose="02060603020205020403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ckwell" panose="02060603020205020403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ckwell" panose="02060603020205020403"/>
                </a:rPr>
                <a:t>老城区</a:t>
              </a:r>
            </a:p>
          </p:txBody>
        </p:sp>
        <p:sp>
          <p:nvSpPr>
            <p:cNvPr id="56" name="椭圆 55">
              <a:extLst>
                <a:ext uri="{FF2B5EF4-FFF2-40B4-BE49-F238E27FC236}">
                  <a16:creationId xmlns="" xmlns:a16="http://schemas.microsoft.com/office/drawing/2014/main" id="{F005D50A-C03D-4CDC-BDD2-A579584466B6}"/>
                </a:ext>
              </a:extLst>
            </p:cNvPr>
            <p:cNvSpPr/>
            <p:nvPr/>
          </p:nvSpPr>
          <p:spPr>
            <a:xfrm>
              <a:off x="1174138" y="2505262"/>
              <a:ext cx="367193" cy="367193"/>
            </a:xfrm>
            <a:prstGeom prst="ellipse">
              <a:avLst/>
            </a:prstGeom>
            <a:ln>
              <a:solidFill>
                <a:srgbClr val="FF0000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7" name="矩形: 圆角 26">
              <a:extLst>
                <a:ext uri="{FF2B5EF4-FFF2-40B4-BE49-F238E27FC236}">
                  <a16:creationId xmlns="" xmlns:a16="http://schemas.microsoft.com/office/drawing/2014/main" id="{8D7D63E9-89BA-48F8-A1E4-9FFB5FBD0A40}"/>
                </a:ext>
              </a:extLst>
            </p:cNvPr>
            <p:cNvSpPr/>
            <p:nvPr/>
          </p:nvSpPr>
          <p:spPr>
            <a:xfrm>
              <a:off x="1689811" y="2488440"/>
              <a:ext cx="1191366" cy="306467"/>
            </a:xfrm>
            <a:prstGeom prst="roundRect">
              <a:avLst/>
            </a:prstGeom>
            <a:solidFill>
              <a:srgbClr val="F81B02"/>
            </a:solidFill>
            <a:ln>
              <a:solidFill>
                <a:sysClr val="window" lastClr="FFFFFF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6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164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避暑山庄景区</a:t>
              </a:r>
            </a:p>
          </p:txBody>
        </p:sp>
        <p:sp>
          <p:nvSpPr>
            <p:cNvPr id="58" name="任意多边形: 形状 28">
              <a:extLst>
                <a:ext uri="{FF2B5EF4-FFF2-40B4-BE49-F238E27FC236}">
                  <a16:creationId xmlns="" xmlns:a16="http://schemas.microsoft.com/office/drawing/2014/main" id="{3261235A-6BBB-4FD8-B341-28C88D260A1A}"/>
                </a:ext>
              </a:extLst>
            </p:cNvPr>
            <p:cNvSpPr/>
            <p:nvPr/>
          </p:nvSpPr>
          <p:spPr>
            <a:xfrm>
              <a:off x="311312" y="3900163"/>
              <a:ext cx="2296725" cy="1971705"/>
            </a:xfrm>
            <a:custGeom>
              <a:avLst/>
              <a:gdLst>
                <a:gd name="connsiteX0" fmla="*/ 1624826 w 2296725"/>
                <a:gd name="connsiteY0" fmla="*/ 190500 h 2057400"/>
                <a:gd name="connsiteX1" fmla="*/ 1624826 w 2296725"/>
                <a:gd name="connsiteY1" fmla="*/ 190500 h 2057400"/>
                <a:gd name="connsiteX2" fmla="*/ 1548626 w 2296725"/>
                <a:gd name="connsiteY2" fmla="*/ 419100 h 2057400"/>
                <a:gd name="connsiteX3" fmla="*/ 1605776 w 2296725"/>
                <a:gd name="connsiteY3" fmla="*/ 647700 h 2057400"/>
                <a:gd name="connsiteX4" fmla="*/ 1643876 w 2296725"/>
                <a:gd name="connsiteY4" fmla="*/ 704850 h 2057400"/>
                <a:gd name="connsiteX5" fmla="*/ 1662926 w 2296725"/>
                <a:gd name="connsiteY5" fmla="*/ 781050 h 2057400"/>
                <a:gd name="connsiteX6" fmla="*/ 1624826 w 2296725"/>
                <a:gd name="connsiteY6" fmla="*/ 990600 h 2057400"/>
                <a:gd name="connsiteX7" fmla="*/ 1643876 w 2296725"/>
                <a:gd name="connsiteY7" fmla="*/ 1181100 h 2057400"/>
                <a:gd name="connsiteX8" fmla="*/ 1891526 w 2296725"/>
                <a:gd name="connsiteY8" fmla="*/ 1238250 h 2057400"/>
                <a:gd name="connsiteX9" fmla="*/ 2005826 w 2296725"/>
                <a:gd name="connsiteY9" fmla="*/ 1314450 h 2057400"/>
                <a:gd name="connsiteX10" fmla="*/ 2024876 w 2296725"/>
                <a:gd name="connsiteY10" fmla="*/ 1371600 h 2057400"/>
                <a:gd name="connsiteX11" fmla="*/ 2101076 w 2296725"/>
                <a:gd name="connsiteY11" fmla="*/ 1485900 h 2057400"/>
                <a:gd name="connsiteX12" fmla="*/ 2024876 w 2296725"/>
                <a:gd name="connsiteY12" fmla="*/ 1600200 h 2057400"/>
                <a:gd name="connsiteX13" fmla="*/ 1948676 w 2296725"/>
                <a:gd name="connsiteY13" fmla="*/ 1619250 h 2057400"/>
                <a:gd name="connsiteX14" fmla="*/ 1948676 w 2296725"/>
                <a:gd name="connsiteY14" fmla="*/ 1790700 h 2057400"/>
                <a:gd name="connsiteX15" fmla="*/ 2005826 w 2296725"/>
                <a:gd name="connsiteY15" fmla="*/ 1828800 h 2057400"/>
                <a:gd name="connsiteX16" fmla="*/ 2120126 w 2296725"/>
                <a:gd name="connsiteY16" fmla="*/ 1905000 h 2057400"/>
                <a:gd name="connsiteX17" fmla="*/ 2177276 w 2296725"/>
                <a:gd name="connsiteY17" fmla="*/ 1943100 h 2057400"/>
                <a:gd name="connsiteX18" fmla="*/ 2234426 w 2296725"/>
                <a:gd name="connsiteY18" fmla="*/ 1962150 h 2057400"/>
                <a:gd name="connsiteX19" fmla="*/ 2291576 w 2296725"/>
                <a:gd name="connsiteY19" fmla="*/ 2000250 h 2057400"/>
                <a:gd name="connsiteX20" fmla="*/ 1796276 w 2296725"/>
                <a:gd name="connsiteY20" fmla="*/ 1981200 h 2057400"/>
                <a:gd name="connsiteX21" fmla="*/ 1720076 w 2296725"/>
                <a:gd name="connsiteY21" fmla="*/ 1943100 h 2057400"/>
                <a:gd name="connsiteX22" fmla="*/ 1681976 w 2296725"/>
                <a:gd name="connsiteY22" fmla="*/ 1828800 h 2057400"/>
                <a:gd name="connsiteX23" fmla="*/ 1681976 w 2296725"/>
                <a:gd name="connsiteY23" fmla="*/ 1466850 h 2057400"/>
                <a:gd name="connsiteX24" fmla="*/ 1529576 w 2296725"/>
                <a:gd name="connsiteY24" fmla="*/ 1409700 h 2057400"/>
                <a:gd name="connsiteX25" fmla="*/ 1148576 w 2296725"/>
                <a:gd name="connsiteY25" fmla="*/ 1428750 h 2057400"/>
                <a:gd name="connsiteX26" fmla="*/ 1072376 w 2296725"/>
                <a:gd name="connsiteY26" fmla="*/ 1466850 h 2057400"/>
                <a:gd name="connsiteX27" fmla="*/ 1053326 w 2296725"/>
                <a:gd name="connsiteY27" fmla="*/ 1600200 h 2057400"/>
                <a:gd name="connsiteX28" fmla="*/ 958076 w 2296725"/>
                <a:gd name="connsiteY28" fmla="*/ 1695450 h 2057400"/>
                <a:gd name="connsiteX29" fmla="*/ 729476 w 2296725"/>
                <a:gd name="connsiteY29" fmla="*/ 1752600 h 2057400"/>
                <a:gd name="connsiteX30" fmla="*/ 672326 w 2296725"/>
                <a:gd name="connsiteY30" fmla="*/ 1771650 h 2057400"/>
                <a:gd name="connsiteX31" fmla="*/ 634226 w 2296725"/>
                <a:gd name="connsiteY31" fmla="*/ 1828800 h 2057400"/>
                <a:gd name="connsiteX32" fmla="*/ 519926 w 2296725"/>
                <a:gd name="connsiteY32" fmla="*/ 1924050 h 2057400"/>
                <a:gd name="connsiteX33" fmla="*/ 481826 w 2296725"/>
                <a:gd name="connsiteY33" fmla="*/ 2000250 h 2057400"/>
                <a:gd name="connsiteX34" fmla="*/ 367526 w 2296725"/>
                <a:gd name="connsiteY34" fmla="*/ 2057400 h 2057400"/>
                <a:gd name="connsiteX35" fmla="*/ 5576 w 2296725"/>
                <a:gd name="connsiteY35" fmla="*/ 2038350 h 2057400"/>
                <a:gd name="connsiteX36" fmla="*/ 43676 w 2296725"/>
                <a:gd name="connsiteY36" fmla="*/ 1981200 h 2057400"/>
                <a:gd name="connsiteX37" fmla="*/ 81776 w 2296725"/>
                <a:gd name="connsiteY37" fmla="*/ 1866900 h 2057400"/>
                <a:gd name="connsiteX38" fmla="*/ 119876 w 2296725"/>
                <a:gd name="connsiteY38" fmla="*/ 1733550 h 2057400"/>
                <a:gd name="connsiteX39" fmla="*/ 234176 w 2296725"/>
                <a:gd name="connsiteY39" fmla="*/ 1638300 h 2057400"/>
                <a:gd name="connsiteX40" fmla="*/ 348476 w 2296725"/>
                <a:gd name="connsiteY40" fmla="*/ 1543050 h 2057400"/>
                <a:gd name="connsiteX41" fmla="*/ 405626 w 2296725"/>
                <a:gd name="connsiteY41" fmla="*/ 1428750 h 2057400"/>
                <a:gd name="connsiteX42" fmla="*/ 424676 w 2296725"/>
                <a:gd name="connsiteY42" fmla="*/ 1352550 h 2057400"/>
                <a:gd name="connsiteX43" fmla="*/ 596126 w 2296725"/>
                <a:gd name="connsiteY43" fmla="*/ 1257300 h 2057400"/>
                <a:gd name="connsiteX44" fmla="*/ 691376 w 2296725"/>
                <a:gd name="connsiteY44" fmla="*/ 1238250 h 2057400"/>
                <a:gd name="connsiteX45" fmla="*/ 748526 w 2296725"/>
                <a:gd name="connsiteY45" fmla="*/ 1219200 h 2057400"/>
                <a:gd name="connsiteX46" fmla="*/ 805676 w 2296725"/>
                <a:gd name="connsiteY46" fmla="*/ 1162050 h 2057400"/>
                <a:gd name="connsiteX47" fmla="*/ 824726 w 2296725"/>
                <a:gd name="connsiteY47" fmla="*/ 1104900 h 2057400"/>
                <a:gd name="connsiteX48" fmla="*/ 862826 w 2296725"/>
                <a:gd name="connsiteY48" fmla="*/ 933450 h 2057400"/>
                <a:gd name="connsiteX49" fmla="*/ 939026 w 2296725"/>
                <a:gd name="connsiteY49" fmla="*/ 819150 h 2057400"/>
                <a:gd name="connsiteX50" fmla="*/ 1243826 w 2296725"/>
                <a:gd name="connsiteY50" fmla="*/ 800100 h 2057400"/>
                <a:gd name="connsiteX51" fmla="*/ 1320026 w 2296725"/>
                <a:gd name="connsiteY51" fmla="*/ 781050 h 2057400"/>
                <a:gd name="connsiteX52" fmla="*/ 1358126 w 2296725"/>
                <a:gd name="connsiteY52" fmla="*/ 723900 h 2057400"/>
                <a:gd name="connsiteX53" fmla="*/ 1358126 w 2296725"/>
                <a:gd name="connsiteY53" fmla="*/ 0 h 2057400"/>
                <a:gd name="connsiteX54" fmla="*/ 1510526 w 2296725"/>
                <a:gd name="connsiteY54" fmla="*/ 38100 h 2057400"/>
                <a:gd name="connsiteX55" fmla="*/ 1605776 w 2296725"/>
                <a:gd name="connsiteY55" fmla="*/ 133350 h 2057400"/>
                <a:gd name="connsiteX56" fmla="*/ 1624826 w 2296725"/>
                <a:gd name="connsiteY56" fmla="*/ 190500 h 205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2296725" h="2057400">
                  <a:moveTo>
                    <a:pt x="1624826" y="190500"/>
                  </a:moveTo>
                  <a:lnTo>
                    <a:pt x="1624826" y="190500"/>
                  </a:lnTo>
                  <a:cubicBezTo>
                    <a:pt x="1599426" y="266700"/>
                    <a:pt x="1535421" y="339871"/>
                    <a:pt x="1548626" y="419100"/>
                  </a:cubicBezTo>
                  <a:cubicBezTo>
                    <a:pt x="1558148" y="476233"/>
                    <a:pt x="1572233" y="597386"/>
                    <a:pt x="1605776" y="647700"/>
                  </a:cubicBezTo>
                  <a:lnTo>
                    <a:pt x="1643876" y="704850"/>
                  </a:lnTo>
                  <a:cubicBezTo>
                    <a:pt x="1650226" y="730250"/>
                    <a:pt x="1662926" y="754868"/>
                    <a:pt x="1662926" y="781050"/>
                  </a:cubicBezTo>
                  <a:cubicBezTo>
                    <a:pt x="1662926" y="805423"/>
                    <a:pt x="1631020" y="959631"/>
                    <a:pt x="1624826" y="990600"/>
                  </a:cubicBezTo>
                  <a:cubicBezTo>
                    <a:pt x="1631176" y="1054100"/>
                    <a:pt x="1611721" y="1125976"/>
                    <a:pt x="1643876" y="1181100"/>
                  </a:cubicBezTo>
                  <a:cubicBezTo>
                    <a:pt x="1662894" y="1213702"/>
                    <a:pt x="1872572" y="1235542"/>
                    <a:pt x="1891526" y="1238250"/>
                  </a:cubicBezTo>
                  <a:cubicBezTo>
                    <a:pt x="1951443" y="1258222"/>
                    <a:pt x="1965055" y="1253294"/>
                    <a:pt x="2005826" y="1314450"/>
                  </a:cubicBezTo>
                  <a:cubicBezTo>
                    <a:pt x="2016965" y="1331158"/>
                    <a:pt x="2015124" y="1354047"/>
                    <a:pt x="2024876" y="1371600"/>
                  </a:cubicBezTo>
                  <a:cubicBezTo>
                    <a:pt x="2047114" y="1411628"/>
                    <a:pt x="2101076" y="1485900"/>
                    <a:pt x="2101076" y="1485900"/>
                  </a:cubicBezTo>
                  <a:cubicBezTo>
                    <a:pt x="2082891" y="1540454"/>
                    <a:pt x="2083634" y="1566624"/>
                    <a:pt x="2024876" y="1600200"/>
                  </a:cubicBezTo>
                  <a:cubicBezTo>
                    <a:pt x="2002144" y="1613190"/>
                    <a:pt x="1974076" y="1612900"/>
                    <a:pt x="1948676" y="1619250"/>
                  </a:cubicBezTo>
                  <a:cubicBezTo>
                    <a:pt x="1926707" y="1685156"/>
                    <a:pt x="1908444" y="1710236"/>
                    <a:pt x="1948676" y="1790700"/>
                  </a:cubicBezTo>
                  <a:cubicBezTo>
                    <a:pt x="1958915" y="1811178"/>
                    <a:pt x="1988237" y="1814143"/>
                    <a:pt x="2005826" y="1828800"/>
                  </a:cubicBezTo>
                  <a:cubicBezTo>
                    <a:pt x="2168332" y="1964222"/>
                    <a:pt x="1969473" y="1829674"/>
                    <a:pt x="2120126" y="1905000"/>
                  </a:cubicBezTo>
                  <a:cubicBezTo>
                    <a:pt x="2140604" y="1915239"/>
                    <a:pt x="2156798" y="1932861"/>
                    <a:pt x="2177276" y="1943100"/>
                  </a:cubicBezTo>
                  <a:cubicBezTo>
                    <a:pt x="2195237" y="1952080"/>
                    <a:pt x="2216465" y="1953170"/>
                    <a:pt x="2234426" y="1962150"/>
                  </a:cubicBezTo>
                  <a:cubicBezTo>
                    <a:pt x="2254904" y="1972389"/>
                    <a:pt x="2314450" y="1999255"/>
                    <a:pt x="2291576" y="2000250"/>
                  </a:cubicBezTo>
                  <a:lnTo>
                    <a:pt x="1796276" y="1981200"/>
                  </a:lnTo>
                  <a:cubicBezTo>
                    <a:pt x="1770876" y="1968500"/>
                    <a:pt x="1737115" y="1965818"/>
                    <a:pt x="1720076" y="1943100"/>
                  </a:cubicBezTo>
                  <a:cubicBezTo>
                    <a:pt x="1695979" y="1910971"/>
                    <a:pt x="1681976" y="1828800"/>
                    <a:pt x="1681976" y="1828800"/>
                  </a:cubicBezTo>
                  <a:cubicBezTo>
                    <a:pt x="1690173" y="1738638"/>
                    <a:pt x="1721031" y="1564487"/>
                    <a:pt x="1681976" y="1466850"/>
                  </a:cubicBezTo>
                  <a:cubicBezTo>
                    <a:pt x="1664914" y="1424195"/>
                    <a:pt x="1552483" y="1414281"/>
                    <a:pt x="1529576" y="1409700"/>
                  </a:cubicBezTo>
                  <a:cubicBezTo>
                    <a:pt x="1402576" y="1416050"/>
                    <a:pt x="1274753" y="1412978"/>
                    <a:pt x="1148576" y="1428750"/>
                  </a:cubicBezTo>
                  <a:cubicBezTo>
                    <a:pt x="1120397" y="1432272"/>
                    <a:pt x="1086167" y="1442026"/>
                    <a:pt x="1072376" y="1466850"/>
                  </a:cubicBezTo>
                  <a:cubicBezTo>
                    <a:pt x="1050570" y="1506101"/>
                    <a:pt x="1066228" y="1557192"/>
                    <a:pt x="1053326" y="1600200"/>
                  </a:cubicBezTo>
                  <a:cubicBezTo>
                    <a:pt x="1040626" y="1642533"/>
                    <a:pt x="996176" y="1678517"/>
                    <a:pt x="958076" y="1695450"/>
                  </a:cubicBezTo>
                  <a:cubicBezTo>
                    <a:pt x="842596" y="1746774"/>
                    <a:pt x="849283" y="1725976"/>
                    <a:pt x="729476" y="1752600"/>
                  </a:cubicBezTo>
                  <a:cubicBezTo>
                    <a:pt x="709874" y="1756956"/>
                    <a:pt x="691376" y="1765300"/>
                    <a:pt x="672326" y="1771650"/>
                  </a:cubicBezTo>
                  <a:cubicBezTo>
                    <a:pt x="659626" y="1790700"/>
                    <a:pt x="648883" y="1811211"/>
                    <a:pt x="634226" y="1828800"/>
                  </a:cubicBezTo>
                  <a:cubicBezTo>
                    <a:pt x="588389" y="1883805"/>
                    <a:pt x="576120" y="1886588"/>
                    <a:pt x="519926" y="1924050"/>
                  </a:cubicBezTo>
                  <a:cubicBezTo>
                    <a:pt x="507226" y="1949450"/>
                    <a:pt x="500006" y="1978434"/>
                    <a:pt x="481826" y="2000250"/>
                  </a:cubicBezTo>
                  <a:cubicBezTo>
                    <a:pt x="453419" y="2034338"/>
                    <a:pt x="406533" y="2044398"/>
                    <a:pt x="367526" y="2057400"/>
                  </a:cubicBezTo>
                  <a:cubicBezTo>
                    <a:pt x="246876" y="2051050"/>
                    <a:pt x="123181" y="2066022"/>
                    <a:pt x="5576" y="2038350"/>
                  </a:cubicBezTo>
                  <a:cubicBezTo>
                    <a:pt x="-16711" y="2033106"/>
                    <a:pt x="34377" y="2002122"/>
                    <a:pt x="43676" y="1981200"/>
                  </a:cubicBezTo>
                  <a:cubicBezTo>
                    <a:pt x="59987" y="1944500"/>
                    <a:pt x="72036" y="1905862"/>
                    <a:pt x="81776" y="1866900"/>
                  </a:cubicBezTo>
                  <a:cubicBezTo>
                    <a:pt x="87880" y="1842485"/>
                    <a:pt x="106211" y="1760879"/>
                    <a:pt x="119876" y="1733550"/>
                  </a:cubicBezTo>
                  <a:cubicBezTo>
                    <a:pt x="158777" y="1655747"/>
                    <a:pt x="156042" y="1682948"/>
                    <a:pt x="234176" y="1638300"/>
                  </a:cubicBezTo>
                  <a:cubicBezTo>
                    <a:pt x="281855" y="1611055"/>
                    <a:pt x="312658" y="1586032"/>
                    <a:pt x="348476" y="1543050"/>
                  </a:cubicBezTo>
                  <a:cubicBezTo>
                    <a:pt x="384776" y="1499490"/>
                    <a:pt x="390684" y="1481047"/>
                    <a:pt x="405626" y="1428750"/>
                  </a:cubicBezTo>
                  <a:cubicBezTo>
                    <a:pt x="412819" y="1403576"/>
                    <a:pt x="407435" y="1372254"/>
                    <a:pt x="424676" y="1352550"/>
                  </a:cubicBezTo>
                  <a:cubicBezTo>
                    <a:pt x="464404" y="1307147"/>
                    <a:pt x="535564" y="1272440"/>
                    <a:pt x="596126" y="1257300"/>
                  </a:cubicBezTo>
                  <a:cubicBezTo>
                    <a:pt x="627538" y="1249447"/>
                    <a:pt x="659964" y="1246103"/>
                    <a:pt x="691376" y="1238250"/>
                  </a:cubicBezTo>
                  <a:cubicBezTo>
                    <a:pt x="710857" y="1233380"/>
                    <a:pt x="729476" y="1225550"/>
                    <a:pt x="748526" y="1219200"/>
                  </a:cubicBezTo>
                  <a:cubicBezTo>
                    <a:pt x="767576" y="1200150"/>
                    <a:pt x="790732" y="1184466"/>
                    <a:pt x="805676" y="1162050"/>
                  </a:cubicBezTo>
                  <a:cubicBezTo>
                    <a:pt x="816815" y="1145342"/>
                    <a:pt x="819209" y="1124208"/>
                    <a:pt x="824726" y="1104900"/>
                  </a:cubicBezTo>
                  <a:cubicBezTo>
                    <a:pt x="847955" y="1023597"/>
                    <a:pt x="843184" y="1021837"/>
                    <a:pt x="862826" y="933450"/>
                  </a:cubicBezTo>
                  <a:cubicBezTo>
                    <a:pt x="874019" y="883080"/>
                    <a:pt x="871818" y="829762"/>
                    <a:pt x="939026" y="819150"/>
                  </a:cubicBezTo>
                  <a:cubicBezTo>
                    <a:pt x="1039579" y="803273"/>
                    <a:pt x="1142226" y="806450"/>
                    <a:pt x="1243826" y="800100"/>
                  </a:cubicBezTo>
                  <a:cubicBezTo>
                    <a:pt x="1269226" y="793750"/>
                    <a:pt x="1298241" y="795573"/>
                    <a:pt x="1320026" y="781050"/>
                  </a:cubicBezTo>
                  <a:cubicBezTo>
                    <a:pt x="1339076" y="768350"/>
                    <a:pt x="1357010" y="746768"/>
                    <a:pt x="1358126" y="723900"/>
                  </a:cubicBezTo>
                  <a:cubicBezTo>
                    <a:pt x="1369883" y="482887"/>
                    <a:pt x="1358126" y="241300"/>
                    <a:pt x="1358126" y="0"/>
                  </a:cubicBezTo>
                  <a:lnTo>
                    <a:pt x="1510526" y="38100"/>
                  </a:lnTo>
                  <a:lnTo>
                    <a:pt x="1605776" y="133350"/>
                  </a:lnTo>
                  <a:lnTo>
                    <a:pt x="1624826" y="190500"/>
                  </a:lnTo>
                  <a:close/>
                </a:path>
              </a:pathLst>
            </a:custGeom>
            <a:solidFill>
              <a:srgbClr val="FFC000">
                <a:alpha val="20000"/>
              </a:srgbClr>
            </a:solidFill>
            <a:ln>
              <a:solidFill>
                <a:srgbClr val="FF0000"/>
              </a:solidFill>
            </a:ln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ckwell" panose="02060603020205020403"/>
              </a:endParaRPr>
            </a:p>
          </p:txBody>
        </p:sp>
        <p:sp>
          <p:nvSpPr>
            <p:cNvPr id="59" name="矩形 58">
              <a:extLst>
                <a:ext uri="{FF2B5EF4-FFF2-40B4-BE49-F238E27FC236}">
                  <a16:creationId xmlns="" xmlns:a16="http://schemas.microsoft.com/office/drawing/2014/main" id="{88BBA5AB-ADEC-47D5-A268-42B4A7C61137}"/>
                </a:ext>
              </a:extLst>
            </p:cNvPr>
            <p:cNvSpPr/>
            <p:nvPr/>
          </p:nvSpPr>
          <p:spPr>
            <a:xfrm>
              <a:off x="222505" y="4727819"/>
              <a:ext cx="133882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ckwell" panose="02060603020205020403"/>
                </a:rPr>
                <a:t>承德高新区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4186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自定义设计方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自定义设计方案">
      <a:majorFont>
        <a:latin typeface="Arial"/>
        <a:ea typeface="楷体_GB2312"/>
        <a:cs typeface=""/>
      </a:majorFont>
      <a:minorFont>
        <a:latin typeface="楷体_GB2312"/>
        <a:ea typeface="楷体_GB2312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sUsed xmlns="6ce37856-e003-4f6e-992c-dbb5a83c694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文档" ma:contentTypeID="0x01010044E46C6B27CD6346B9EC87C337045782" ma:contentTypeVersion="1" ma:contentTypeDescription="新建文档。" ma:contentTypeScope="" ma:versionID="db2b5761faf3aff0bb524e6dc2946714">
  <xsd:schema xmlns:xsd="http://www.w3.org/2001/XMLSchema" xmlns:xs="http://www.w3.org/2001/XMLSchema" xmlns:p="http://schemas.microsoft.com/office/2006/metadata/properties" xmlns:ns2="6ce37856-e003-4f6e-992c-dbb5a83c6947" targetNamespace="http://schemas.microsoft.com/office/2006/metadata/properties" ma:root="true" ma:fieldsID="086d8c94daf6aaff8092c281af1bf1f9" ns2:_="">
    <xsd:import namespace="6ce37856-e003-4f6e-992c-dbb5a83c6947"/>
    <xsd:element name="properties">
      <xsd:complexType>
        <xsd:sequence>
          <xsd:element name="documentManagement">
            <xsd:complexType>
              <xsd:all>
                <xsd:element ref="ns2:IsUse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e37856-e003-4f6e-992c-dbb5a83c6947" elementFormDefault="qualified">
    <xsd:import namespace="http://schemas.microsoft.com/office/2006/documentManagement/types"/>
    <xsd:import namespace="http://schemas.microsoft.com/office/infopath/2007/PartnerControls"/>
    <xsd:element name="IsUsed" ma:index="8" nillable="true" ma:displayName="IsUsed" ma:internalName="IsUsed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内容类型"/>
        <xsd:element ref="dc:title" minOccurs="0" maxOccurs="1" ma:index="4" ma:displayName="标题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806C382-0397-4A4C-AD67-FB000FF1D0FE}">
  <ds:schemaRefs>
    <ds:schemaRef ds:uri="http://www.w3.org/XML/1998/namespace"/>
    <ds:schemaRef ds:uri="http://schemas.microsoft.com/office/2006/documentManagement/types"/>
    <ds:schemaRef ds:uri="6ce37856-e003-4f6e-992c-dbb5a83c6947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6FA68CE4-7268-4087-98AA-5D6820B8E22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ce37856-e003-4f6e-992c-dbb5a83c694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35AD86B-7EF6-4648-ABA6-B1AD304AF81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30729045012青龙67亩项目立项报告0726</Template>
  <TotalTime>9920</TotalTime>
  <Words>3352</Words>
  <Application>Microsoft Office PowerPoint</Application>
  <PresentationFormat>A3 纸张(297x420 毫米)</PresentationFormat>
  <Paragraphs>465</Paragraphs>
  <Slides>22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36" baseType="lpstr">
      <vt:lpstr>Batang</vt:lpstr>
      <vt:lpstr>等线</vt:lpstr>
      <vt:lpstr>黑体</vt:lpstr>
      <vt:lpstr>华文楷体</vt:lpstr>
      <vt:lpstr>楷体_GB2312</vt:lpstr>
      <vt:lpstr>宋体</vt:lpstr>
      <vt:lpstr>微软雅黑</vt:lpstr>
      <vt:lpstr>Arial</vt:lpstr>
      <vt:lpstr>Calibri</vt:lpstr>
      <vt:lpstr>Rockwell</vt:lpstr>
      <vt:lpstr>Times New Roman</vt:lpstr>
      <vt:lpstr>Wingdings</vt:lpstr>
      <vt:lpstr>自定义设计方案</vt:lpstr>
      <vt:lpstr>think-cell Slide</vt:lpstr>
      <vt:lpstr>PowerPoint 演示文稿</vt:lpstr>
      <vt:lpstr>目  录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目  录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目  录</vt:lpstr>
      <vt:lpstr>PowerPoint 演示文稿</vt:lpstr>
      <vt:lpstr>PowerPoint 演示文稿</vt:lpstr>
    </vt:vector>
  </TitlesOfParts>
  <Company>微软中国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0</dc:title>
  <dc:creator>duwx</dc:creator>
  <cp:lastModifiedBy>84004</cp:lastModifiedBy>
  <cp:revision>720</cp:revision>
  <cp:lastPrinted>2020-01-08T06:29:49Z</cp:lastPrinted>
  <dcterms:created xsi:type="dcterms:W3CDTF">2013-07-29T08:51:47Z</dcterms:created>
  <dcterms:modified xsi:type="dcterms:W3CDTF">2020-07-20T10:21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E46C6B27CD6346B9EC87C337045782</vt:lpwstr>
  </property>
  <property fmtid="{D5CDD505-2E9C-101B-9397-08002B2CF9AE}" pid="3" name="NXPowerLiteLastOptimized">
    <vt:lpwstr>4696734</vt:lpwstr>
  </property>
  <property fmtid="{D5CDD505-2E9C-101B-9397-08002B2CF9AE}" pid="4" name="NXPowerLiteVersion">
    <vt:lpwstr>D4.1.4</vt:lpwstr>
  </property>
</Properties>
</file>